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3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4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5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6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7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8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9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20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1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22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23.xml" ContentType="application/vnd.openxmlformats-officedocument.them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24.xml" ContentType="application/vnd.openxmlformats-officedocument.theme+xml"/>
  <Override PartName="/ppt/theme/theme25.xml" ContentType="application/vnd.openxmlformats-officedocument.theme+xml"/>
  <Override PartName="/ppt/theme/theme2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5" r:id="rId5"/>
    <p:sldMasterId id="2147483694" r:id="rId6"/>
    <p:sldMasterId id="2147483703" r:id="rId7"/>
    <p:sldMasterId id="2147483712" r:id="rId8"/>
    <p:sldMasterId id="2147483722" r:id="rId9"/>
    <p:sldMasterId id="2147483730" r:id="rId10"/>
    <p:sldMasterId id="2147483739" r:id="rId11"/>
    <p:sldMasterId id="2147483748" r:id="rId12"/>
    <p:sldMasterId id="2147483757" r:id="rId13"/>
    <p:sldMasterId id="2147483766" r:id="rId14"/>
    <p:sldMasterId id="2147483775" r:id="rId15"/>
    <p:sldMasterId id="2147483784" r:id="rId16"/>
    <p:sldMasterId id="2147483793" r:id="rId17"/>
    <p:sldMasterId id="2147483803" r:id="rId18"/>
    <p:sldMasterId id="2147483813" r:id="rId19"/>
    <p:sldMasterId id="2147483823" r:id="rId20"/>
    <p:sldMasterId id="2147483833" r:id="rId21"/>
    <p:sldMasterId id="2147483843" r:id="rId22"/>
    <p:sldMasterId id="2147483853" r:id="rId23"/>
    <p:sldMasterId id="2147483863" r:id="rId24"/>
    <p:sldMasterId id="2147483873" r:id="rId25"/>
    <p:sldMasterId id="2147483883" r:id="rId26"/>
    <p:sldMasterId id="2147483893" r:id="rId27"/>
    <p:sldMasterId id="2147483903" r:id="rId28"/>
  </p:sldMasterIdLst>
  <p:notesMasterIdLst>
    <p:notesMasterId r:id="rId31"/>
  </p:notesMasterIdLst>
  <p:handoutMasterIdLst>
    <p:handoutMasterId r:id="rId32"/>
  </p:handoutMasterIdLst>
  <p:sldIdLst>
    <p:sldId id="279" r:id="rId29"/>
    <p:sldId id="384" r:id="rId30"/>
  </p:sldIdLst>
  <p:sldSz cx="13817600" cy="7772400"/>
  <p:notesSz cx="7010400" cy="9296400"/>
  <p:defaultTextStyle>
    <a:defPPr>
      <a:defRPr lang="en-CA"/>
    </a:defPPr>
    <a:lvl1pPr marL="0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263"/>
    <a:srgbClr val="E7EEF1"/>
    <a:srgbClr val="B1A0C7"/>
    <a:srgbClr val="DFEBF5"/>
    <a:srgbClr val="FFFFFF"/>
    <a:srgbClr val="000000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505E3EF-67EA-436B-97B2-0124C06EBD24}">
  <a:tblStyle styleId="{BF9529FB-F7F1-4122-B7C4-D901D1AFE0D1}" styleName="RBC Light Gray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A949A42-8534-413A-A760-ABA5BDE51491}" styleName="RBC Tundra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334" autoAdjust="0"/>
    <p:restoredTop sz="94647" autoAdjust="0"/>
  </p:normalViewPr>
  <p:slideViewPr>
    <p:cSldViewPr snapToGrid="0">
      <p:cViewPr varScale="1">
        <p:scale>
          <a:sx n="121" d="100"/>
          <a:sy n="121" d="100"/>
        </p:scale>
        <p:origin x="1110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2190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Master" Target="slideMasters/slideMaster14.xml"/><Relationship Id="rId26" Type="http://schemas.openxmlformats.org/officeDocument/2006/relationships/slideMaster" Target="slideMasters/slideMaster22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7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Master" Target="slideMasters/slideMaster13.xml"/><Relationship Id="rId25" Type="http://schemas.openxmlformats.org/officeDocument/2006/relationships/slideMaster" Target="slideMasters/slideMaster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2.xml"/><Relationship Id="rId20" Type="http://schemas.openxmlformats.org/officeDocument/2006/relationships/slideMaster" Target="slideMasters/slideMaster16.xml"/><Relationship Id="rId29" Type="http://schemas.openxmlformats.org/officeDocument/2006/relationships/slide" Target="slides/slid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Master" Target="slideMasters/slideMaster20.xml"/><Relationship Id="rId32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Master" Target="slideMasters/slideMaster11.xml"/><Relationship Id="rId23" Type="http://schemas.openxmlformats.org/officeDocument/2006/relationships/slideMaster" Target="slideMasters/slideMaster19.xml"/><Relationship Id="rId28" Type="http://schemas.openxmlformats.org/officeDocument/2006/relationships/slideMaster" Target="slideMasters/slideMaster24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6.xml"/><Relationship Id="rId19" Type="http://schemas.openxmlformats.org/officeDocument/2006/relationships/slideMaster" Target="slideMasters/slideMaster15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slideMaster" Target="slideMasters/slideMaster18.xml"/><Relationship Id="rId27" Type="http://schemas.openxmlformats.org/officeDocument/2006/relationships/slideMaster" Target="slideMasters/slideMaster23.xml"/><Relationship Id="rId30" Type="http://schemas.openxmlformats.org/officeDocument/2006/relationships/slide" Target="slides/slide2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7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700" b="1" dirty="0">
                <a:solidFill>
                  <a:srgbClr val="003263"/>
                </a:solidFill>
              </a:rPr>
              <a:t>SB Winner</a:t>
            </a:r>
            <a:r>
              <a:rPr lang="en-US" sz="700" b="1" baseline="0" dirty="0">
                <a:solidFill>
                  <a:srgbClr val="003263"/>
                </a:solidFill>
              </a:rPr>
              <a:t> vs League: </a:t>
            </a:r>
            <a:r>
              <a:rPr lang="en-US" sz="700" b="1" dirty="0">
                <a:solidFill>
                  <a:srgbClr val="003263"/>
                </a:solidFill>
              </a:rPr>
              <a:t>Impact of Offense </a:t>
            </a:r>
            <a:r>
              <a:rPr lang="en-US" sz="700" b="1" dirty="0" smtClean="0">
                <a:solidFill>
                  <a:srgbClr val="003263"/>
                </a:solidFill>
              </a:rPr>
              <a:t>Penalties</a:t>
            </a:r>
            <a:r>
              <a:rPr lang="en-US" sz="700" b="1" baseline="0" dirty="0" smtClean="0">
                <a:solidFill>
                  <a:srgbClr val="003263"/>
                </a:solidFill>
              </a:rPr>
              <a:t> </a:t>
            </a:r>
            <a:endParaRPr lang="en-US" sz="700" b="1" dirty="0">
              <a:solidFill>
                <a:srgbClr val="003263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2!$B$21</c:f>
              <c:strCache>
                <c:ptCount val="1"/>
                <c:pt idx="0">
                  <c:v>SB Winner Total O_Pentalies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2!$A$22:$A$32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</c:numRef>
          </c:cat>
          <c:val>
            <c:numRef>
              <c:f>Sheet2!$B$22:$B$32</c:f>
              <c:numCache>
                <c:formatCode>General</c:formatCode>
                <c:ptCount val="11"/>
                <c:pt idx="0">
                  <c:v>78</c:v>
                </c:pt>
                <c:pt idx="1">
                  <c:v>94</c:v>
                </c:pt>
                <c:pt idx="2">
                  <c:v>121</c:v>
                </c:pt>
                <c:pt idx="3">
                  <c:v>128</c:v>
                </c:pt>
                <c:pt idx="4">
                  <c:v>120</c:v>
                </c:pt>
                <c:pt idx="5">
                  <c:v>115</c:v>
                </c:pt>
                <c:pt idx="6">
                  <c:v>93</c:v>
                </c:pt>
                <c:pt idx="7">
                  <c:v>116</c:v>
                </c:pt>
                <c:pt idx="8">
                  <c:v>93</c:v>
                </c:pt>
                <c:pt idx="9">
                  <c:v>107</c:v>
                </c:pt>
                <c:pt idx="10">
                  <c:v>8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2!$D$21</c:f>
              <c:strCache>
                <c:ptCount val="1"/>
                <c:pt idx="0">
                  <c:v>League Avg O_Pentalies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4.3917594261788116E-2"/>
                  <c:y val="4.56070029289816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3.8494034391470089E-2"/>
                  <c:y val="3.35297082429913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4.3917594261788116E-2"/>
                  <c:y val="3.956835558598653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2!$A$22:$A$32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</c:numRef>
          </c:cat>
          <c:val>
            <c:numRef>
              <c:f>Sheet2!$D$22:$D$32</c:f>
              <c:numCache>
                <c:formatCode>0</c:formatCode>
                <c:ptCount val="11"/>
                <c:pt idx="0">
                  <c:v>96.875</c:v>
                </c:pt>
                <c:pt idx="1">
                  <c:v>102.75</c:v>
                </c:pt>
                <c:pt idx="2">
                  <c:v>100.40625</c:v>
                </c:pt>
                <c:pt idx="3">
                  <c:v>97.9375</c:v>
                </c:pt>
                <c:pt idx="4">
                  <c:v>105.8125</c:v>
                </c:pt>
                <c:pt idx="5">
                  <c:v>110.78125</c:v>
                </c:pt>
                <c:pt idx="6">
                  <c:v>107.71875</c:v>
                </c:pt>
                <c:pt idx="7">
                  <c:v>106.875</c:v>
                </c:pt>
                <c:pt idx="8">
                  <c:v>107.65625</c:v>
                </c:pt>
                <c:pt idx="9">
                  <c:v>107.84375</c:v>
                </c:pt>
                <c:pt idx="10">
                  <c:v>89.87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5469480"/>
        <c:axId val="725469872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2!$C$21</c15:sqref>
                        </c15:formulaRef>
                      </c:ext>
                    </c:extLst>
                    <c:strCache>
                      <c:ptCount val="1"/>
                      <c:pt idx="0">
                        <c:v>SB Winner Total D_Pentalies</c:v>
                      </c:pt>
                    </c:strCache>
                  </c:strRef>
                </c:tx>
                <c:spPr>
                  <a:ln w="19050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/>
                    </a:solidFill>
                    <a:ln w="9525">
                      <a:solidFill>
                        <a:schemeClr val="accent2"/>
                      </a:solidFill>
                    </a:ln>
                    <a:effectLst/>
                  </c:spPr>
                </c:marker>
                <c:cat>
                  <c:numRef>
                    <c:extLst>
                      <c:ext uri="{02D57815-91ED-43cb-92C2-25804820EDAC}">
                        <c15:formulaRef>
                          <c15:sqref>Sheet2!$A$22:$A$32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2010</c:v>
                      </c:pt>
                      <c:pt idx="1">
                        <c:v>2011</c:v>
                      </c:pt>
                      <c:pt idx="2">
                        <c:v>2012</c:v>
                      </c:pt>
                      <c:pt idx="3">
                        <c:v>2013</c:v>
                      </c:pt>
                      <c:pt idx="4">
                        <c:v>2014</c:v>
                      </c:pt>
                      <c:pt idx="5">
                        <c:v>2015</c:v>
                      </c:pt>
                      <c:pt idx="6">
                        <c:v>2016</c:v>
                      </c:pt>
                      <c:pt idx="7">
                        <c:v>2017</c:v>
                      </c:pt>
                      <c:pt idx="8">
                        <c:v>2018</c:v>
                      </c:pt>
                      <c:pt idx="9">
                        <c:v>2019</c:v>
                      </c:pt>
                      <c:pt idx="10">
                        <c:v>202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2!$C$22:$C$32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98</c:v>
                      </c:pt>
                      <c:pt idx="1">
                        <c:v>110</c:v>
                      </c:pt>
                      <c:pt idx="2">
                        <c:v>107</c:v>
                      </c:pt>
                      <c:pt idx="3">
                        <c:v>98</c:v>
                      </c:pt>
                      <c:pt idx="4">
                        <c:v>92</c:v>
                      </c:pt>
                      <c:pt idx="5">
                        <c:v>104</c:v>
                      </c:pt>
                      <c:pt idx="6">
                        <c:v>113</c:v>
                      </c:pt>
                      <c:pt idx="7">
                        <c:v>101</c:v>
                      </c:pt>
                      <c:pt idx="8">
                        <c:v>91</c:v>
                      </c:pt>
                      <c:pt idx="9">
                        <c:v>116</c:v>
                      </c:pt>
                      <c:pt idx="10">
                        <c:v>95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E$21</c15:sqref>
                        </c15:formulaRef>
                      </c:ext>
                    </c:extLst>
                    <c:strCache>
                      <c:ptCount val="1"/>
                      <c:pt idx="0">
                        <c:v>League Avg D_Pentalies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/>
                    </a:solidFill>
                    <a:ln w="9525">
                      <a:solidFill>
                        <a:schemeClr val="accent4"/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A$22:$A$32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2010</c:v>
                      </c:pt>
                      <c:pt idx="1">
                        <c:v>2011</c:v>
                      </c:pt>
                      <c:pt idx="2">
                        <c:v>2012</c:v>
                      </c:pt>
                      <c:pt idx="3">
                        <c:v>2013</c:v>
                      </c:pt>
                      <c:pt idx="4">
                        <c:v>2014</c:v>
                      </c:pt>
                      <c:pt idx="5">
                        <c:v>2015</c:v>
                      </c:pt>
                      <c:pt idx="6">
                        <c:v>2016</c:v>
                      </c:pt>
                      <c:pt idx="7">
                        <c:v>2017</c:v>
                      </c:pt>
                      <c:pt idx="8">
                        <c:v>2018</c:v>
                      </c:pt>
                      <c:pt idx="9">
                        <c:v>2019</c:v>
                      </c:pt>
                      <c:pt idx="10">
                        <c:v>202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E$22:$E$32</c15:sqref>
                        </c15:formulaRef>
                      </c:ext>
                    </c:extLst>
                    <c:numCache>
                      <c:formatCode>0</c:formatCode>
                      <c:ptCount val="11"/>
                      <c:pt idx="0">
                        <c:v>96.875</c:v>
                      </c:pt>
                      <c:pt idx="1">
                        <c:v>102.75</c:v>
                      </c:pt>
                      <c:pt idx="2">
                        <c:v>100.40625</c:v>
                      </c:pt>
                      <c:pt idx="3">
                        <c:v>97.96875</c:v>
                      </c:pt>
                      <c:pt idx="4">
                        <c:v>105.8125</c:v>
                      </c:pt>
                      <c:pt idx="5">
                        <c:v>110.78125</c:v>
                      </c:pt>
                      <c:pt idx="6">
                        <c:v>107.71875</c:v>
                      </c:pt>
                      <c:pt idx="7">
                        <c:v>106.875</c:v>
                      </c:pt>
                      <c:pt idx="8">
                        <c:v>107.65625</c:v>
                      </c:pt>
                      <c:pt idx="9">
                        <c:v>107.84375</c:v>
                      </c:pt>
                      <c:pt idx="10">
                        <c:v>89.875</c:v>
                      </c:pt>
                    </c:numCache>
                  </c:numRef>
                </c:val>
                <c:smooth val="0"/>
              </c15:ser>
            </c15:filteredLineSeries>
          </c:ext>
        </c:extLst>
      </c:lineChart>
      <c:catAx>
        <c:axId val="725469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5469872"/>
        <c:crosses val="autoZero"/>
        <c:auto val="1"/>
        <c:lblAlgn val="ctr"/>
        <c:lblOffset val="100"/>
        <c:noMultiLvlLbl val="0"/>
      </c:catAx>
      <c:valAx>
        <c:axId val="725469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25469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7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700" b="1" dirty="0">
                <a:solidFill>
                  <a:srgbClr val="003263"/>
                </a:solidFill>
              </a:rPr>
              <a:t>SB Winner</a:t>
            </a:r>
            <a:r>
              <a:rPr lang="en-US" sz="700" b="1" baseline="0" dirty="0">
                <a:solidFill>
                  <a:srgbClr val="003263"/>
                </a:solidFill>
              </a:rPr>
              <a:t> vs League: </a:t>
            </a:r>
            <a:r>
              <a:rPr lang="en-US" sz="700" b="1" dirty="0">
                <a:solidFill>
                  <a:srgbClr val="003263"/>
                </a:solidFill>
              </a:rPr>
              <a:t>Impact of Defense </a:t>
            </a:r>
            <a:r>
              <a:rPr lang="en-US" sz="700" b="1" i="0" u="none" strike="noStrike" baseline="0" dirty="0" smtClean="0">
                <a:solidFill>
                  <a:srgbClr val="003263"/>
                </a:solidFill>
                <a:effectLst/>
              </a:rPr>
              <a:t>Penalties </a:t>
            </a:r>
            <a:endParaRPr lang="en-US" sz="700" b="1" dirty="0">
              <a:solidFill>
                <a:srgbClr val="003263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Sheet2!$C$21</c:f>
              <c:strCache>
                <c:ptCount val="1"/>
                <c:pt idx="0">
                  <c:v>SB Winner Total D_Pentalies</c:v>
                </c:pt>
              </c:strCache>
              <c:extLst xmlns:c15="http://schemas.microsoft.com/office/drawing/2012/chart"/>
            </c:strRef>
          </c:tx>
          <c:spPr>
            <a:ln w="19050" cap="rnd">
              <a:solidFill>
                <a:srgbClr val="00326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3263"/>
              </a:solidFill>
              <a:ln w="9525">
                <a:solidFill>
                  <a:srgbClr val="003263"/>
                </a:solidFill>
              </a:ln>
              <a:effectLst/>
            </c:spPr>
          </c:marker>
          <c:dLbls>
            <c:dLbl>
              <c:idx val="0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2!$A$22:$A$32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  <c:extLst xmlns:c15="http://schemas.microsoft.com/office/drawing/2012/chart"/>
            </c:numRef>
          </c:cat>
          <c:val>
            <c:numRef>
              <c:f>Sheet2!$C$22:$C$32</c:f>
              <c:numCache>
                <c:formatCode>General</c:formatCode>
                <c:ptCount val="11"/>
                <c:pt idx="0">
                  <c:v>98</c:v>
                </c:pt>
                <c:pt idx="1">
                  <c:v>110</c:v>
                </c:pt>
                <c:pt idx="2">
                  <c:v>107</c:v>
                </c:pt>
                <c:pt idx="3">
                  <c:v>98</c:v>
                </c:pt>
                <c:pt idx="4">
                  <c:v>92</c:v>
                </c:pt>
                <c:pt idx="5">
                  <c:v>104</c:v>
                </c:pt>
                <c:pt idx="6">
                  <c:v>113</c:v>
                </c:pt>
                <c:pt idx="7">
                  <c:v>101</c:v>
                </c:pt>
                <c:pt idx="8">
                  <c:v>91</c:v>
                </c:pt>
                <c:pt idx="9">
                  <c:v>116</c:v>
                </c:pt>
                <c:pt idx="10">
                  <c:v>95</c:v>
                </c:pt>
              </c:numCache>
              <c:extLst xmlns:c15="http://schemas.microsoft.com/office/drawing/2012/chart"/>
            </c:numRef>
          </c:val>
          <c:smooth val="0"/>
        </c:ser>
        <c:ser>
          <c:idx val="3"/>
          <c:order val="3"/>
          <c:tx>
            <c:strRef>
              <c:f>Sheet2!$E$21</c:f>
              <c:strCache>
                <c:ptCount val="1"/>
                <c:pt idx="0">
                  <c:v>League Avg D_Pentalies</c:v>
                </c:pt>
              </c:strCache>
              <c:extLst xmlns:c15="http://schemas.microsoft.com/office/drawing/2012/chart"/>
            </c:strRef>
          </c:tx>
          <c:spPr>
            <a:ln w="19050" cap="rnd">
              <a:solidFill>
                <a:srgbClr val="87AFB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7AFBF"/>
              </a:solidFill>
              <a:ln w="9525">
                <a:solidFill>
                  <a:srgbClr val="87AFBF"/>
                </a:solidFill>
              </a:ln>
              <a:effectLst/>
            </c:spPr>
          </c:marker>
          <c:dLbls>
            <c:dLbl>
              <c:idx val="4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2!$A$22:$A$32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  <c:extLst xmlns:c15="http://schemas.microsoft.com/office/drawing/2012/chart"/>
            </c:numRef>
          </c:cat>
          <c:val>
            <c:numRef>
              <c:f>Sheet2!$E$22:$E$32</c:f>
              <c:numCache>
                <c:formatCode>0</c:formatCode>
                <c:ptCount val="11"/>
                <c:pt idx="0">
                  <c:v>96.875</c:v>
                </c:pt>
                <c:pt idx="1">
                  <c:v>102.75</c:v>
                </c:pt>
                <c:pt idx="2">
                  <c:v>100.40625</c:v>
                </c:pt>
                <c:pt idx="3">
                  <c:v>97.96875</c:v>
                </c:pt>
                <c:pt idx="4">
                  <c:v>105.8125</c:v>
                </c:pt>
                <c:pt idx="5">
                  <c:v>110.78125</c:v>
                </c:pt>
                <c:pt idx="6">
                  <c:v>107.71875</c:v>
                </c:pt>
                <c:pt idx="7">
                  <c:v>106.875</c:v>
                </c:pt>
                <c:pt idx="8">
                  <c:v>107.65625</c:v>
                </c:pt>
                <c:pt idx="9">
                  <c:v>107.84375</c:v>
                </c:pt>
                <c:pt idx="10">
                  <c:v>89.875</c:v>
                </c:pt>
              </c:numCache>
              <c:extLst xmlns:c15="http://schemas.microsoft.com/office/drawing/2012/chart"/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6533832"/>
        <c:axId val="826519328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2!$B$21</c15:sqref>
                        </c15:formulaRef>
                      </c:ext>
                    </c:extLst>
                    <c:strCache>
                      <c:ptCount val="1"/>
                      <c:pt idx="0">
                        <c:v>SB Winner Total O_Pentalies</c:v>
                      </c:pt>
                    </c:strCache>
                  </c:strRef>
                </c:tx>
                <c:spPr>
                  <a:ln w="19050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/>
                    </a:solidFill>
                    <a:ln w="9525">
                      <a:solidFill>
                        <a:schemeClr val="accent1"/>
                      </a:solidFill>
                    </a:ln>
                    <a:effectLst/>
                  </c:spPr>
                </c:marker>
                <c:cat>
                  <c:numRef>
                    <c:extLst>
                      <c:ext uri="{02D57815-91ED-43cb-92C2-25804820EDAC}">
                        <c15:formulaRef>
                          <c15:sqref>Sheet2!$A$22:$A$32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2010</c:v>
                      </c:pt>
                      <c:pt idx="1">
                        <c:v>2011</c:v>
                      </c:pt>
                      <c:pt idx="2">
                        <c:v>2012</c:v>
                      </c:pt>
                      <c:pt idx="3">
                        <c:v>2013</c:v>
                      </c:pt>
                      <c:pt idx="4">
                        <c:v>2014</c:v>
                      </c:pt>
                      <c:pt idx="5">
                        <c:v>2015</c:v>
                      </c:pt>
                      <c:pt idx="6">
                        <c:v>2016</c:v>
                      </c:pt>
                      <c:pt idx="7">
                        <c:v>2017</c:v>
                      </c:pt>
                      <c:pt idx="8">
                        <c:v>2018</c:v>
                      </c:pt>
                      <c:pt idx="9">
                        <c:v>2019</c:v>
                      </c:pt>
                      <c:pt idx="10">
                        <c:v>202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2!$B$22:$B$32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78</c:v>
                      </c:pt>
                      <c:pt idx="1">
                        <c:v>94</c:v>
                      </c:pt>
                      <c:pt idx="2">
                        <c:v>121</c:v>
                      </c:pt>
                      <c:pt idx="3">
                        <c:v>128</c:v>
                      </c:pt>
                      <c:pt idx="4">
                        <c:v>120</c:v>
                      </c:pt>
                      <c:pt idx="5">
                        <c:v>115</c:v>
                      </c:pt>
                      <c:pt idx="6">
                        <c:v>93</c:v>
                      </c:pt>
                      <c:pt idx="7">
                        <c:v>116</c:v>
                      </c:pt>
                      <c:pt idx="8">
                        <c:v>93</c:v>
                      </c:pt>
                      <c:pt idx="9">
                        <c:v>107</c:v>
                      </c:pt>
                      <c:pt idx="10">
                        <c:v>84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D$21</c15:sqref>
                        </c15:formulaRef>
                      </c:ext>
                    </c:extLst>
                    <c:strCache>
                      <c:ptCount val="1"/>
                      <c:pt idx="0">
                        <c:v>League Avg O_Pentalies</c:v>
                      </c:pt>
                    </c:strCache>
                  </c:strRef>
                </c:tx>
                <c:spPr>
                  <a:ln w="19050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/>
                    </a:solidFill>
                    <a:ln w="9525">
                      <a:solidFill>
                        <a:schemeClr val="accent3"/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A$22:$A$32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2010</c:v>
                      </c:pt>
                      <c:pt idx="1">
                        <c:v>2011</c:v>
                      </c:pt>
                      <c:pt idx="2">
                        <c:v>2012</c:v>
                      </c:pt>
                      <c:pt idx="3">
                        <c:v>2013</c:v>
                      </c:pt>
                      <c:pt idx="4">
                        <c:v>2014</c:v>
                      </c:pt>
                      <c:pt idx="5">
                        <c:v>2015</c:v>
                      </c:pt>
                      <c:pt idx="6">
                        <c:v>2016</c:v>
                      </c:pt>
                      <c:pt idx="7">
                        <c:v>2017</c:v>
                      </c:pt>
                      <c:pt idx="8">
                        <c:v>2018</c:v>
                      </c:pt>
                      <c:pt idx="9">
                        <c:v>2019</c:v>
                      </c:pt>
                      <c:pt idx="10">
                        <c:v>202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D$22:$D$32</c15:sqref>
                        </c15:formulaRef>
                      </c:ext>
                    </c:extLst>
                    <c:numCache>
                      <c:formatCode>0</c:formatCode>
                      <c:ptCount val="11"/>
                      <c:pt idx="0">
                        <c:v>96.875</c:v>
                      </c:pt>
                      <c:pt idx="1">
                        <c:v>102.75</c:v>
                      </c:pt>
                      <c:pt idx="2">
                        <c:v>100.40625</c:v>
                      </c:pt>
                      <c:pt idx="3">
                        <c:v>97.9375</c:v>
                      </c:pt>
                      <c:pt idx="4">
                        <c:v>105.8125</c:v>
                      </c:pt>
                      <c:pt idx="5">
                        <c:v>110.78125</c:v>
                      </c:pt>
                      <c:pt idx="6">
                        <c:v>107.71875</c:v>
                      </c:pt>
                      <c:pt idx="7">
                        <c:v>106.875</c:v>
                      </c:pt>
                      <c:pt idx="8">
                        <c:v>107.65625</c:v>
                      </c:pt>
                      <c:pt idx="9">
                        <c:v>107.84375</c:v>
                      </c:pt>
                      <c:pt idx="10">
                        <c:v>89.875</c:v>
                      </c:pt>
                    </c:numCache>
                  </c:numRef>
                </c:val>
                <c:smooth val="0"/>
              </c15:ser>
            </c15:filteredLineSeries>
          </c:ext>
        </c:extLst>
      </c:lineChart>
      <c:catAx>
        <c:axId val="826533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6519328"/>
        <c:crosses val="autoZero"/>
        <c:auto val="1"/>
        <c:lblAlgn val="ctr"/>
        <c:lblOffset val="100"/>
        <c:noMultiLvlLbl val="0"/>
      </c:catAx>
      <c:valAx>
        <c:axId val="8265193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26533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theme" Target="../theme/theme2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90718644-737D-43E6-AB63-4A0D72D612B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55DD514-52B2-4A20-B455-6C93CA0B03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5B98BE9-1DF9-4F13-8080-3D34EC7F0DCC}" type="datetimeFigureOut">
              <a:rPr lang="en-US" smtClean="0"/>
              <a:t>07/15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0DCCAA0-9260-4B93-879D-E3DA39A7AFE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221F7F6-A6FF-4ADE-AF5F-BC6F8B9A4A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B2F9B1C-8D71-413B-8AE0-A66A1D16BA7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1B363D0-BAE8-4E30-968C-B30621B7FD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7364" y="64933"/>
            <a:ext cx="744565" cy="803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279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theme" Target="../theme/theme2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35317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75083" y="0"/>
            <a:ext cx="2835317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2DAF281-D5C0-44A6-919B-4BDDA8A72803}" type="datetimeFigureOut">
              <a:rPr lang="en-CA" smtClean="0"/>
              <a:t>2021-07-15</a:t>
            </a:fld>
            <a:endParaRPr lang="en-C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C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1568"/>
            <a:ext cx="5608320" cy="3662782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CA"/>
              <a:t>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1294"/>
            <a:ext cx="2835317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75083" y="8821294"/>
            <a:ext cx="2835317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FF71800-7E42-4FD9-88C0-C7DD9972A17A}" type="slidenum">
              <a:rPr lang="en-CA" smtClean="0"/>
              <a:t>‹#›</a:t>
            </a:fld>
            <a:endParaRPr lang="en-CA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E12A3C9-2089-46C7-97D9-9199F279E4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7364" y="64933"/>
            <a:ext cx="744565" cy="803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950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95AAA2-9ECA-4B04-97BB-109080291B63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979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hyperlink" Target="http://images.google.ca/imgres?imgurl=http://www.bbbsola.org/site-bbbs/media/bslondon/RBC%20Leo%20only.jpeg&amp;imgrefurl=http://www.bbbsola.org/en/Home/fundevents/Gala/default.aspx&amp;usg=__j-atKxLW3rNzdTGC2_MGvG5n_SI=&amp;h=300&amp;w=253&amp;sz=101&amp;hl=en&amp;start=6&amp;tbnid=Hn9pJANc6xGeFM:&amp;tbnh=116&amp;tbnw=98&amp;prev=/images?q=RBC+LOGO&amp;gbv=2&amp;hl=en&amp;safe=active" TargetMode="External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hyperlink" Target="http://images.google.ca/imgres?imgurl=http://www.bbbsola.org/site-bbbs/media/bslondon/RBC%20Leo%20only.jpeg&amp;imgrefurl=http://www.bbbsola.org/en/Home/fundevents/Gala/default.aspx&amp;usg=__j-atKxLW3rNzdTGC2_MGvG5n_SI=&amp;h=300&amp;w=253&amp;sz=101&amp;hl=en&amp;start=6&amp;tbnid=Hn9pJANc6xGeFM:&amp;tbnh=116&amp;tbnw=98&amp;prev=/images?q=RBC+LOGO&amp;gbv=2&amp;hl=en&amp;safe=active" TargetMode="Externa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82978E88-56D6-48B4-896E-06B96E32E20B}"/>
              </a:ext>
            </a:extLst>
          </p:cNvPr>
          <p:cNvGrpSpPr/>
          <p:nvPr userDrawn="1"/>
        </p:nvGrpSpPr>
        <p:grpSpPr>
          <a:xfrm>
            <a:off x="-31091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="" xmlns:a16="http://schemas.microsoft.com/office/drawing/2014/main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980" dirty="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="" xmlns:a16="http://schemas.microsoft.com/office/drawing/2014/main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="" xmlns:a16="http://schemas.microsoft.com/office/drawing/2014/main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CA" sz="1980" dirty="0"/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="" xmlns:a16="http://schemas.microsoft.com/office/drawing/2014/main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CA" sz="1980" dirty="0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="" xmlns:a16="http://schemas.microsoft.com/office/drawing/2014/main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CA" sz="1980" dirty="0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="" xmlns:a16="http://schemas.microsoft.com/office/drawing/2014/main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CA" sz="1980" dirty="0"/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0" y="7782765"/>
            <a:ext cx="10363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0" y="7782765"/>
            <a:ext cx="10363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noProof="0" dirty="0"/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7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58" indent="0" algn="ctr">
              <a:buNone/>
              <a:defRPr sz="1650"/>
            </a:lvl2pPr>
            <a:lvl3pPr marL="754317" indent="0" algn="ctr">
              <a:buNone/>
              <a:defRPr sz="1485"/>
            </a:lvl3pPr>
            <a:lvl4pPr marL="1131475" indent="0" algn="ctr">
              <a:buNone/>
              <a:defRPr sz="1320"/>
            </a:lvl4pPr>
            <a:lvl5pPr marL="1508634" indent="0" algn="ctr">
              <a:buNone/>
              <a:defRPr sz="1320"/>
            </a:lvl5pPr>
            <a:lvl6pPr marL="1885792" indent="0" algn="ctr">
              <a:buNone/>
              <a:defRPr sz="1320"/>
            </a:lvl6pPr>
            <a:lvl7pPr marL="2262950" indent="0" algn="ctr">
              <a:buNone/>
              <a:defRPr sz="1320"/>
            </a:lvl7pPr>
            <a:lvl8pPr marL="2640109" indent="0" algn="ctr">
              <a:buNone/>
              <a:defRPr sz="1320"/>
            </a:lvl8pPr>
            <a:lvl9pPr marL="3017267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3" y="1258095"/>
            <a:ext cx="11504061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1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749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6575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9669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xmlns="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:a16="http://schemas.microsoft.com/office/drawing/2014/main" xmlns="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5661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xmlns="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4408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xmlns="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xmlns="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2880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8475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7" name="Rectangle 395"/>
          <p:cNvSpPr>
            <a:spLocks noChangeArrowheads="1"/>
          </p:cNvSpPr>
          <p:nvPr/>
        </p:nvSpPr>
        <p:spPr bwMode="auto">
          <a:xfrm>
            <a:off x="364142" y="291174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217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0" y="1099122"/>
            <a:ext cx="4144626" cy="263149"/>
          </a:xfrm>
        </p:spPr>
        <p:txBody>
          <a:bodyPr>
            <a:spAutoFit/>
          </a:bodyPr>
          <a:lstStyle>
            <a:lvl1pPr>
              <a:defRPr sz="1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0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4" indent="0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8" name="Group 50"/>
          <p:cNvGrpSpPr>
            <a:grpSpLocks/>
          </p:cNvGrpSpPr>
          <p:nvPr userDrawn="1"/>
        </p:nvGrpSpPr>
        <p:grpSpPr bwMode="auto">
          <a:xfrm>
            <a:off x="351056" y="291170"/>
            <a:ext cx="13106767" cy="3722799"/>
            <a:chOff x="137" y="143"/>
            <a:chExt cx="6064" cy="2303"/>
          </a:xfrm>
        </p:grpSpPr>
        <p:sp>
          <p:nvSpPr>
            <p:cNvPr id="9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 userDrawn="1"/>
          </p:nvSpPr>
          <p:spPr bwMode="auto">
            <a:xfrm rot="-5400000">
              <a:off x="1267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2411136" y="6655040"/>
            <a:ext cx="766445" cy="640669"/>
            <a:chOff x="1854" y="1072"/>
            <a:chExt cx="1429" cy="1641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1071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="" xmlns:a16="http://schemas.microsoft.com/office/drawing/2014/main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="" xmlns:a16="http://schemas.microsoft.com/office/drawing/2014/main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="" xmlns:a16="http://schemas.microsoft.com/office/drawing/2014/main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="" xmlns:a16="http://schemas.microsoft.com/office/drawing/2014/main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="" xmlns:a16="http://schemas.microsoft.com/office/drawing/2014/main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="" xmlns:a16="http://schemas.microsoft.com/office/drawing/2014/main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677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418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xmlns="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xmlns="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9420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5761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4354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xmlns="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:a16="http://schemas.microsoft.com/office/drawing/2014/main" xmlns="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5934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xmlns="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5511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xmlns="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xmlns="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400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1446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7" name="Rectangle 395"/>
          <p:cNvSpPr>
            <a:spLocks noChangeArrowheads="1"/>
          </p:cNvSpPr>
          <p:nvPr/>
        </p:nvSpPr>
        <p:spPr bwMode="auto">
          <a:xfrm>
            <a:off x="364142" y="291174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217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0" y="1099122"/>
            <a:ext cx="4144626" cy="263149"/>
          </a:xfrm>
        </p:spPr>
        <p:txBody>
          <a:bodyPr>
            <a:spAutoFit/>
          </a:bodyPr>
          <a:lstStyle>
            <a:lvl1pPr>
              <a:defRPr sz="1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0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4" indent="0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8" name="Group 50"/>
          <p:cNvGrpSpPr>
            <a:grpSpLocks/>
          </p:cNvGrpSpPr>
          <p:nvPr userDrawn="1"/>
        </p:nvGrpSpPr>
        <p:grpSpPr bwMode="auto">
          <a:xfrm>
            <a:off x="351056" y="291170"/>
            <a:ext cx="13106767" cy="3722799"/>
            <a:chOff x="137" y="143"/>
            <a:chExt cx="6064" cy="2303"/>
          </a:xfrm>
        </p:grpSpPr>
        <p:sp>
          <p:nvSpPr>
            <p:cNvPr id="9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 userDrawn="1"/>
          </p:nvSpPr>
          <p:spPr bwMode="auto">
            <a:xfrm rot="-5400000">
              <a:off x="1267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2411136" y="6655040"/>
            <a:ext cx="766445" cy="640669"/>
            <a:chOff x="1854" y="1072"/>
            <a:chExt cx="1429" cy="1641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8450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602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5161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2231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779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6813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422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0096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089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8583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7" name="Rectangle 395"/>
          <p:cNvSpPr>
            <a:spLocks noChangeArrowheads="1"/>
          </p:cNvSpPr>
          <p:nvPr/>
        </p:nvSpPr>
        <p:spPr bwMode="auto">
          <a:xfrm>
            <a:off x="364142" y="291174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217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0" y="1099122"/>
            <a:ext cx="4144626" cy="263149"/>
          </a:xfrm>
        </p:spPr>
        <p:txBody>
          <a:bodyPr>
            <a:spAutoFit/>
          </a:bodyPr>
          <a:lstStyle>
            <a:lvl1pPr>
              <a:defRPr sz="1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0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4" indent="0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8" name="Group 50"/>
          <p:cNvGrpSpPr>
            <a:grpSpLocks/>
          </p:cNvGrpSpPr>
          <p:nvPr userDrawn="1"/>
        </p:nvGrpSpPr>
        <p:grpSpPr bwMode="auto">
          <a:xfrm>
            <a:off x="351056" y="291170"/>
            <a:ext cx="13106767" cy="3722799"/>
            <a:chOff x="137" y="143"/>
            <a:chExt cx="6064" cy="2303"/>
          </a:xfrm>
        </p:grpSpPr>
        <p:sp>
          <p:nvSpPr>
            <p:cNvPr id="9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 userDrawn="1"/>
          </p:nvSpPr>
          <p:spPr bwMode="auto">
            <a:xfrm rot="-5400000">
              <a:off x="1267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2411136" y="6655040"/>
            <a:ext cx="766445" cy="640669"/>
            <a:chOff x="1854" y="1072"/>
            <a:chExt cx="1429" cy="1641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7208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89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5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5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6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5" y="1258094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3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565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4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3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8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1641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3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4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350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3" y="1248698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5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147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2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5023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2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3" y="448058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8899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7734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20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40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1" y="1036948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3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6349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4249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89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5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5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6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5" y="1258094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3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243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4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3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8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4690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3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4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5531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3" y="1248698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5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4209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2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3459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2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3" y="448058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6759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20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40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1" y="1036948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3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5194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1578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8495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7" name="Rectangle 395"/>
          <p:cNvSpPr>
            <a:spLocks noChangeArrowheads="1"/>
          </p:cNvSpPr>
          <p:nvPr/>
        </p:nvSpPr>
        <p:spPr bwMode="auto">
          <a:xfrm>
            <a:off x="364143" y="291175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217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0" y="1099123"/>
            <a:ext cx="4144626" cy="263149"/>
          </a:xfrm>
        </p:spPr>
        <p:txBody>
          <a:bodyPr>
            <a:spAutoFit/>
          </a:bodyPr>
          <a:lstStyle>
            <a:lvl1pPr>
              <a:defRPr sz="1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0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4" indent="0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8" name="Group 50"/>
          <p:cNvGrpSpPr>
            <a:grpSpLocks/>
          </p:cNvGrpSpPr>
          <p:nvPr userDrawn="1"/>
        </p:nvGrpSpPr>
        <p:grpSpPr bwMode="auto">
          <a:xfrm>
            <a:off x="351057" y="291171"/>
            <a:ext cx="13106767" cy="3722799"/>
            <a:chOff x="137" y="143"/>
            <a:chExt cx="6064" cy="2303"/>
          </a:xfrm>
        </p:grpSpPr>
        <p:sp>
          <p:nvSpPr>
            <p:cNvPr id="9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 userDrawn="1"/>
          </p:nvSpPr>
          <p:spPr bwMode="auto">
            <a:xfrm rot="-5400000">
              <a:off x="1267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2411137" y="6655040"/>
            <a:ext cx="766445" cy="640669"/>
            <a:chOff x="1854" y="1072"/>
            <a:chExt cx="1429" cy="1641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1924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89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5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5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6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5" y="1258094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3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551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4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3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8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3807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3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4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257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3" y="1248698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5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8546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2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7915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2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3" y="448058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0673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20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40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1" y="1036948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3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1173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5372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7" name="Rectangle 395"/>
          <p:cNvSpPr>
            <a:spLocks noChangeArrowheads="1"/>
          </p:cNvSpPr>
          <p:nvPr/>
        </p:nvSpPr>
        <p:spPr bwMode="auto">
          <a:xfrm>
            <a:off x="364143" y="291175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217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0" y="1099123"/>
            <a:ext cx="4144626" cy="263149"/>
          </a:xfrm>
        </p:spPr>
        <p:txBody>
          <a:bodyPr>
            <a:spAutoFit/>
          </a:bodyPr>
          <a:lstStyle>
            <a:lvl1pPr>
              <a:defRPr sz="1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0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4" indent="0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8" name="Group 50"/>
          <p:cNvGrpSpPr>
            <a:grpSpLocks/>
          </p:cNvGrpSpPr>
          <p:nvPr userDrawn="1"/>
        </p:nvGrpSpPr>
        <p:grpSpPr bwMode="auto">
          <a:xfrm>
            <a:off x="351057" y="291171"/>
            <a:ext cx="13106767" cy="3722799"/>
            <a:chOff x="137" y="143"/>
            <a:chExt cx="6064" cy="2303"/>
          </a:xfrm>
        </p:grpSpPr>
        <p:sp>
          <p:nvSpPr>
            <p:cNvPr id="9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 userDrawn="1"/>
          </p:nvSpPr>
          <p:spPr bwMode="auto">
            <a:xfrm rot="-5400000">
              <a:off x="1267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2411137" y="6655040"/>
            <a:ext cx="766445" cy="640669"/>
            <a:chOff x="1854" y="1072"/>
            <a:chExt cx="1429" cy="1641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3809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758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069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5850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6284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406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3417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8870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3349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3636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7" name="Rectangle 395"/>
          <p:cNvSpPr>
            <a:spLocks noChangeArrowheads="1"/>
          </p:cNvSpPr>
          <p:nvPr/>
        </p:nvSpPr>
        <p:spPr bwMode="auto">
          <a:xfrm>
            <a:off x="364142" y="291174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217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0" y="1099122"/>
            <a:ext cx="4144626" cy="263149"/>
          </a:xfrm>
        </p:spPr>
        <p:txBody>
          <a:bodyPr>
            <a:spAutoFit/>
          </a:bodyPr>
          <a:lstStyle>
            <a:lvl1pPr>
              <a:defRPr sz="1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0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4" indent="0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8" name="Group 50"/>
          <p:cNvGrpSpPr>
            <a:grpSpLocks/>
          </p:cNvGrpSpPr>
          <p:nvPr userDrawn="1"/>
        </p:nvGrpSpPr>
        <p:grpSpPr bwMode="auto">
          <a:xfrm>
            <a:off x="351056" y="291170"/>
            <a:ext cx="13106767" cy="3722799"/>
            <a:chOff x="137" y="143"/>
            <a:chExt cx="6064" cy="2303"/>
          </a:xfrm>
        </p:grpSpPr>
        <p:sp>
          <p:nvSpPr>
            <p:cNvPr id="9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 userDrawn="1"/>
          </p:nvSpPr>
          <p:spPr bwMode="auto">
            <a:xfrm rot="-5400000">
              <a:off x="1267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2411136" y="6655040"/>
            <a:ext cx="766445" cy="640669"/>
            <a:chOff x="1854" y="1072"/>
            <a:chExt cx="1429" cy="1641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498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11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6998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1575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8674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6365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2582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7581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7079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1589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7" name="Rectangle 395"/>
          <p:cNvSpPr>
            <a:spLocks noChangeArrowheads="1"/>
          </p:cNvSpPr>
          <p:nvPr/>
        </p:nvSpPr>
        <p:spPr bwMode="auto">
          <a:xfrm>
            <a:off x="364142" y="291174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217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0" y="1099122"/>
            <a:ext cx="4144626" cy="263149"/>
          </a:xfrm>
        </p:spPr>
        <p:txBody>
          <a:bodyPr>
            <a:spAutoFit/>
          </a:bodyPr>
          <a:lstStyle>
            <a:lvl1pPr>
              <a:defRPr sz="1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0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4" indent="0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8" name="Group 50"/>
          <p:cNvGrpSpPr>
            <a:grpSpLocks/>
          </p:cNvGrpSpPr>
          <p:nvPr userDrawn="1"/>
        </p:nvGrpSpPr>
        <p:grpSpPr bwMode="auto">
          <a:xfrm>
            <a:off x="351056" y="291170"/>
            <a:ext cx="13106767" cy="3722799"/>
            <a:chOff x="137" y="143"/>
            <a:chExt cx="6064" cy="2303"/>
          </a:xfrm>
        </p:grpSpPr>
        <p:sp>
          <p:nvSpPr>
            <p:cNvPr id="9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 userDrawn="1"/>
          </p:nvSpPr>
          <p:spPr bwMode="auto">
            <a:xfrm rot="-5400000">
              <a:off x="1267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2411136" y="6655040"/>
            <a:ext cx="766445" cy="640669"/>
            <a:chOff x="1854" y="1072"/>
            <a:chExt cx="1429" cy="1641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9056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89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5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5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6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5" y="1258094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3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265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4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3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8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3932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944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3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4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0694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3" y="1248698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5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6978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2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9692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2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3" y="448058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35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20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40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1" y="1036948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3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0215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1401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7" name="Rectangle 395"/>
          <p:cNvSpPr>
            <a:spLocks noChangeArrowheads="1"/>
          </p:cNvSpPr>
          <p:nvPr/>
        </p:nvSpPr>
        <p:spPr bwMode="auto">
          <a:xfrm>
            <a:off x="364143" y="291175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217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0" y="1099123"/>
            <a:ext cx="4144626" cy="263149"/>
          </a:xfrm>
        </p:spPr>
        <p:txBody>
          <a:bodyPr>
            <a:spAutoFit/>
          </a:bodyPr>
          <a:lstStyle>
            <a:lvl1pPr>
              <a:defRPr sz="1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0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4" indent="0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8" name="Group 50"/>
          <p:cNvGrpSpPr>
            <a:grpSpLocks/>
          </p:cNvGrpSpPr>
          <p:nvPr userDrawn="1"/>
        </p:nvGrpSpPr>
        <p:grpSpPr bwMode="auto">
          <a:xfrm>
            <a:off x="351057" y="291171"/>
            <a:ext cx="13106767" cy="3722799"/>
            <a:chOff x="137" y="143"/>
            <a:chExt cx="6064" cy="2303"/>
          </a:xfrm>
        </p:grpSpPr>
        <p:sp>
          <p:nvSpPr>
            <p:cNvPr id="9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 userDrawn="1"/>
          </p:nvSpPr>
          <p:spPr bwMode="auto">
            <a:xfrm rot="-5400000">
              <a:off x="1267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2411137" y="6655040"/>
            <a:ext cx="766445" cy="640669"/>
            <a:chOff x="1854" y="1072"/>
            <a:chExt cx="1429" cy="1641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2532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89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5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5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6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5" y="1258094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3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031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4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3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8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763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3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4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3701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6028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3" y="1248698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5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4450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2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7071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2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3" y="448058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8475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20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40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1" y="1036948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3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444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601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7" name="Rectangle 395"/>
          <p:cNvSpPr>
            <a:spLocks noChangeArrowheads="1"/>
          </p:cNvSpPr>
          <p:nvPr/>
        </p:nvSpPr>
        <p:spPr bwMode="auto">
          <a:xfrm>
            <a:off x="364143" y="291175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217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0" y="1099123"/>
            <a:ext cx="4144626" cy="263149"/>
          </a:xfrm>
        </p:spPr>
        <p:txBody>
          <a:bodyPr>
            <a:spAutoFit/>
          </a:bodyPr>
          <a:lstStyle>
            <a:lvl1pPr>
              <a:defRPr sz="1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0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4" indent="0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8" name="Group 50"/>
          <p:cNvGrpSpPr>
            <a:grpSpLocks/>
          </p:cNvGrpSpPr>
          <p:nvPr userDrawn="1"/>
        </p:nvGrpSpPr>
        <p:grpSpPr bwMode="auto">
          <a:xfrm>
            <a:off x="351057" y="291171"/>
            <a:ext cx="13106767" cy="3722799"/>
            <a:chOff x="137" y="143"/>
            <a:chExt cx="6064" cy="2303"/>
          </a:xfrm>
        </p:grpSpPr>
        <p:sp>
          <p:nvSpPr>
            <p:cNvPr id="9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 userDrawn="1"/>
          </p:nvSpPr>
          <p:spPr bwMode="auto">
            <a:xfrm rot="-5400000">
              <a:off x="1267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2411137" y="6655040"/>
            <a:ext cx="766445" cy="640669"/>
            <a:chOff x="1854" y="1072"/>
            <a:chExt cx="1429" cy="1641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0968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89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5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5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6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5" y="1258094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3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186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4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3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8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851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3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4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108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3" y="1248698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5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3010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88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2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6376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2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3" y="448058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2007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20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40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1" y="1036948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3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2583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8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5873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7" name="Rectangle 395"/>
          <p:cNvSpPr>
            <a:spLocks noChangeArrowheads="1"/>
          </p:cNvSpPr>
          <p:nvPr/>
        </p:nvSpPr>
        <p:spPr bwMode="auto">
          <a:xfrm>
            <a:off x="364143" y="291175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217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0" y="1099123"/>
            <a:ext cx="4144626" cy="263149"/>
          </a:xfrm>
        </p:spPr>
        <p:txBody>
          <a:bodyPr>
            <a:spAutoFit/>
          </a:bodyPr>
          <a:lstStyle>
            <a:lvl1pPr>
              <a:defRPr sz="1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0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4" indent="0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8" name="Group 50"/>
          <p:cNvGrpSpPr>
            <a:grpSpLocks/>
          </p:cNvGrpSpPr>
          <p:nvPr userDrawn="1"/>
        </p:nvGrpSpPr>
        <p:grpSpPr bwMode="auto">
          <a:xfrm>
            <a:off x="351057" y="291171"/>
            <a:ext cx="13106767" cy="3722799"/>
            <a:chOff x="137" y="143"/>
            <a:chExt cx="6064" cy="2303"/>
          </a:xfrm>
        </p:grpSpPr>
        <p:sp>
          <p:nvSpPr>
            <p:cNvPr id="9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 userDrawn="1"/>
          </p:nvSpPr>
          <p:spPr bwMode="auto">
            <a:xfrm rot="-5400000">
              <a:off x="1267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2411137" y="6655040"/>
            <a:ext cx="766445" cy="640669"/>
            <a:chOff x="1854" y="1072"/>
            <a:chExt cx="1429" cy="1641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0638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276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9509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7959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1735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6885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2" y="7337146"/>
            <a:ext cx="558704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1" y="1005840"/>
            <a:ext cx="12561455" cy="5980176"/>
          </a:xfrm>
        </p:spPr>
        <p:txBody>
          <a:bodyPr>
            <a:normAutofit/>
          </a:bodyPr>
          <a:lstStyle>
            <a:lvl2pPr indent="-118862" algn="l" defTabSz="68574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62" algn="l" defTabSz="68574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62" algn="l" defTabSz="68574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62" algn="l" defTabSz="68574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5"/>
            <a:ext cx="12587624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4931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5605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5541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3791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4360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7" name="Rectangle 395"/>
          <p:cNvSpPr>
            <a:spLocks noChangeArrowheads="1"/>
          </p:cNvSpPr>
          <p:nvPr/>
        </p:nvSpPr>
        <p:spPr bwMode="auto">
          <a:xfrm>
            <a:off x="364142" y="291174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914217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0" y="1099122"/>
            <a:ext cx="4144626" cy="263149"/>
          </a:xfrm>
        </p:spPr>
        <p:txBody>
          <a:bodyPr>
            <a:spAutoFit/>
          </a:bodyPr>
          <a:lstStyle>
            <a:lvl1pPr>
              <a:defRPr sz="1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0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4" indent="0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8" name="Group 50"/>
          <p:cNvGrpSpPr>
            <a:grpSpLocks/>
          </p:cNvGrpSpPr>
          <p:nvPr userDrawn="1"/>
        </p:nvGrpSpPr>
        <p:grpSpPr bwMode="auto">
          <a:xfrm>
            <a:off x="351056" y="291170"/>
            <a:ext cx="13106767" cy="3722799"/>
            <a:chOff x="137" y="143"/>
            <a:chExt cx="6064" cy="2303"/>
          </a:xfrm>
        </p:grpSpPr>
        <p:sp>
          <p:nvSpPr>
            <p:cNvPr id="9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 userDrawn="1"/>
          </p:nvSpPr>
          <p:spPr bwMode="auto">
            <a:xfrm rot="-5400000">
              <a:off x="1267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2411136" y="6655040"/>
            <a:ext cx="766445" cy="640669"/>
            <a:chOff x="1854" y="1072"/>
            <a:chExt cx="1429" cy="1641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217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2698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957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2561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2167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2144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25" descr="30"/>
          <p:cNvPicPr>
            <a:picLocks noChangeAspect="1" noChangeArrowheads="1"/>
          </p:cNvPicPr>
          <p:nvPr userDrawn="1"/>
        </p:nvPicPr>
        <p:blipFill>
          <a:blip r:embed="rId2"/>
          <a:srcRect l="5994"/>
          <a:stretch>
            <a:fillRect/>
          </a:stretch>
        </p:blipFill>
        <p:spPr bwMode="auto">
          <a:xfrm>
            <a:off x="212716" y="290454"/>
            <a:ext cx="13268121" cy="3712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5"/>
          <p:cNvSpPr>
            <a:spLocks noChangeArrowheads="1"/>
          </p:cNvSpPr>
          <p:nvPr/>
        </p:nvSpPr>
        <p:spPr bwMode="auto">
          <a:xfrm>
            <a:off x="364541" y="290558"/>
            <a:ext cx="13102405" cy="7232759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xtLst/>
        </p:spPr>
        <p:txBody>
          <a:bodyPr wrap="none" lIns="113072" tIns="56527" rIns="113072" bIns="56527" anchor="ctr"/>
          <a:lstStyle>
            <a:lvl1pPr algn="ctr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ctr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ctr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ctr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ctr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defTabSz="1036290" eaLnBrk="1" hangingPunct="1">
              <a:defRPr/>
            </a:pPr>
            <a:endParaRPr lang="en-US" altLang="en-US" sz="1923" dirty="0" smtClean="0">
              <a:solidFill>
                <a:srgbClr val="003263"/>
              </a:solidFill>
              <a:ea typeface="Geneva"/>
              <a:cs typeface="Geneva"/>
            </a:endParaRPr>
          </a:p>
        </p:txBody>
      </p:sp>
      <p:grpSp>
        <p:nvGrpSpPr>
          <p:cNvPr id="6" name="Group 50"/>
          <p:cNvGrpSpPr>
            <a:grpSpLocks/>
          </p:cNvGrpSpPr>
          <p:nvPr userDrawn="1"/>
        </p:nvGrpSpPr>
        <p:grpSpPr bwMode="auto">
          <a:xfrm>
            <a:off x="352265" y="291356"/>
            <a:ext cx="13104588" cy="3723515"/>
            <a:chOff x="137" y="143"/>
            <a:chExt cx="6064" cy="2303"/>
          </a:xfrm>
        </p:grpSpPr>
        <p:sp>
          <p:nvSpPr>
            <p:cNvPr id="7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036290">
                <a:defRPr/>
              </a:pPr>
              <a:endParaRPr lang="en-US" sz="2473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46"/>
            <p:cNvSpPr>
              <a:spLocks noChangeShapeType="1"/>
            </p:cNvSpPr>
            <p:nvPr userDrawn="1"/>
          </p:nvSpPr>
          <p:spPr bwMode="auto">
            <a:xfrm rot="-5400000">
              <a:off x="1269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036290">
                <a:defRPr/>
              </a:pPr>
              <a:endParaRPr lang="en-US" sz="2473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16" descr="RBC%2520Leo%2520only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11615331" y="6059838"/>
            <a:ext cx="1410760" cy="125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740" y="580308"/>
            <a:ext cx="4063743" cy="803296"/>
          </a:xfrm>
        </p:spPr>
        <p:txBody>
          <a:bodyPr>
            <a:spAutoFit/>
          </a:bodyPr>
          <a:lstStyle>
            <a:lvl1pPr>
              <a:defRPr sz="261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749" y="1748443"/>
            <a:ext cx="3226577" cy="197253"/>
          </a:xfrm>
          <a:ln/>
        </p:spPr>
        <p:txBody>
          <a:bodyPr rIns="0"/>
          <a:lstStyle>
            <a:lvl1pPr>
              <a:defRPr sz="1648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706735" y="3561665"/>
            <a:ext cx="3222726" cy="141259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36">
                <a:solidFill>
                  <a:srgbClr val="FFFFFF"/>
                </a:solidFill>
                <a:ea typeface="Geneva"/>
                <a:cs typeface="Geneva"/>
              </a:defRPr>
            </a:lvl1pPr>
          </a:lstStyle>
          <a:p>
            <a:pPr defTabSz="1036290">
              <a:defRPr/>
            </a:pP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608248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95"/>
          <p:cNvSpPr>
            <a:spLocks noChangeArrowheads="1"/>
          </p:cNvSpPr>
          <p:nvPr/>
        </p:nvSpPr>
        <p:spPr bwMode="auto">
          <a:xfrm>
            <a:off x="364541" y="290558"/>
            <a:ext cx="13102405" cy="7232759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wrap="none" lIns="113048" tIns="56520" rIns="113048" bIns="56520" anchor="ctr"/>
          <a:lstStyle/>
          <a:p>
            <a:pPr defTabSz="1036290">
              <a:defRPr/>
            </a:pPr>
            <a:endParaRPr lang="en-US" sz="2473" dirty="0">
              <a:solidFill>
                <a:srgbClr val="000000"/>
              </a:solidFill>
            </a:endParaRPr>
          </a:p>
        </p:txBody>
      </p:sp>
      <p:grpSp>
        <p:nvGrpSpPr>
          <p:cNvPr id="5" name="Group 50"/>
          <p:cNvGrpSpPr>
            <a:grpSpLocks/>
          </p:cNvGrpSpPr>
          <p:nvPr/>
        </p:nvGrpSpPr>
        <p:grpSpPr bwMode="auto">
          <a:xfrm>
            <a:off x="352265" y="291356"/>
            <a:ext cx="13104588" cy="3723515"/>
            <a:chOff x="137" y="143"/>
            <a:chExt cx="6064" cy="2303"/>
          </a:xfrm>
        </p:grpSpPr>
        <p:sp>
          <p:nvSpPr>
            <p:cNvPr id="6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036290">
                <a:defRPr/>
              </a:pPr>
              <a:endParaRPr lang="en-US" sz="2473" dirty="0">
                <a:solidFill>
                  <a:srgbClr val="000000"/>
                </a:solidFill>
              </a:endParaRPr>
            </a:p>
          </p:txBody>
        </p:sp>
        <p:sp>
          <p:nvSpPr>
            <p:cNvPr id="7" name="Line 46"/>
            <p:cNvSpPr>
              <a:spLocks noChangeShapeType="1"/>
            </p:cNvSpPr>
            <p:nvPr userDrawn="1"/>
          </p:nvSpPr>
          <p:spPr bwMode="auto">
            <a:xfrm rot="-5400000">
              <a:off x="1269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036290">
                <a:defRPr/>
              </a:pPr>
              <a:endParaRPr lang="en-US" sz="2473" dirty="0">
                <a:solidFill>
                  <a:srgbClr val="000000"/>
                </a:solidFill>
              </a:endParaRPr>
            </a:p>
          </p:txBody>
        </p:sp>
      </p:grp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604" y="975107"/>
            <a:ext cx="4063743" cy="401644"/>
          </a:xfrm>
        </p:spPr>
        <p:txBody>
          <a:bodyPr>
            <a:spAutoFit/>
          </a:bodyPr>
          <a:lstStyle>
            <a:lvl1pPr>
              <a:defRPr sz="261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598" y="1749254"/>
            <a:ext cx="3226577" cy="191808"/>
          </a:xfrm>
          <a:extLst/>
        </p:spPr>
        <p:txBody>
          <a:bodyPr rIns="0"/>
          <a:lstStyle>
            <a:lvl1pPr>
              <a:defRPr sz="164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14711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heading"/>
          <p:cNvSpPr>
            <a:spLocks noGrp="1"/>
          </p:cNvSpPr>
          <p:nvPr>
            <p:ph type="title"/>
          </p:nvPr>
        </p:nvSpPr>
        <p:spPr/>
        <p:txBody>
          <a:bodyPr anchor="b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477200" indent="-200926">
              <a:buFont typeface="Symbol" panose="05050102010706020507" pitchFamily="18" charset="2"/>
              <a:buChar char="-"/>
              <a:defRPr/>
            </a:lvl2pPr>
            <a:lvl3pPr marL="728355" indent="-200926">
              <a:buFont typeface="Symbol" panose="05050102010706020507" pitchFamily="18" charset="2"/>
              <a:buChar char="-"/>
              <a:defRPr/>
            </a:lvl3pPr>
            <a:lvl4pPr marL="979511" indent="-200926">
              <a:buSzPct val="100000"/>
              <a:buFont typeface="Symbol" panose="05050102010706020507" pitchFamily="18" charset="2"/>
              <a:buChar char="-"/>
              <a:defRPr/>
            </a:lvl4pPr>
            <a:lvl5pPr marL="1230670" indent="-200926">
              <a:buSzPct val="100000"/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692360" y="4228237"/>
            <a:ext cx="6297179" cy="165065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105842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6"/>
          <p:cNvSpPr>
            <a:spLocks noChangeShapeType="1"/>
          </p:cNvSpPr>
          <p:nvPr/>
        </p:nvSpPr>
        <p:spPr bwMode="gray">
          <a:xfrm flipH="1">
            <a:off x="523396" y="838200"/>
            <a:ext cx="12770811" cy="0"/>
          </a:xfrm>
          <a:prstGeom prst="line">
            <a:avLst/>
          </a:prstGeom>
          <a:noFill/>
          <a:ln w="12700">
            <a:solidFill>
              <a:srgbClr val="A29989"/>
            </a:solidFill>
            <a:round/>
            <a:headEnd/>
            <a:tailEnd/>
          </a:ln>
          <a:effectLst/>
          <a:extLst/>
        </p:spPr>
        <p:txBody>
          <a:bodyPr lIns="112377" tIns="56184" rIns="112377" bIns="56184"/>
          <a:lstStyle/>
          <a:p>
            <a:pPr defTabSz="1036290">
              <a:defRPr/>
            </a:pPr>
            <a:endParaRPr lang="en-US" sz="2473" dirty="0">
              <a:solidFill>
                <a:srgbClr val="000000"/>
              </a:solidFill>
            </a:endParaRPr>
          </a:p>
        </p:txBody>
      </p:sp>
      <p:sp>
        <p:nvSpPr>
          <p:cNvPr id="5" name="Line 7"/>
          <p:cNvSpPr>
            <a:spLocks noChangeShapeType="1"/>
          </p:cNvSpPr>
          <p:nvPr/>
        </p:nvSpPr>
        <p:spPr bwMode="gray">
          <a:xfrm flipH="1">
            <a:off x="523394" y="7141195"/>
            <a:ext cx="12770813" cy="0"/>
          </a:xfrm>
          <a:prstGeom prst="line">
            <a:avLst/>
          </a:prstGeom>
          <a:noFill/>
          <a:ln w="12700">
            <a:solidFill>
              <a:srgbClr val="A29989"/>
            </a:solidFill>
            <a:round/>
            <a:headEnd/>
            <a:tailEnd/>
          </a:ln>
          <a:effectLst/>
          <a:extLst/>
        </p:spPr>
        <p:txBody>
          <a:bodyPr lIns="112377" tIns="56184" rIns="112377" bIns="56184"/>
          <a:lstStyle/>
          <a:p>
            <a:pPr defTabSz="1036290">
              <a:defRPr/>
            </a:pPr>
            <a:endParaRPr lang="en-US" sz="2473" dirty="0">
              <a:solidFill>
                <a:srgbClr val="000000"/>
              </a:solidFill>
            </a:endParaRPr>
          </a:p>
        </p:txBody>
      </p:sp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457" y="1693"/>
          <a:ext cx="21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57" y="1693"/>
                        <a:ext cx="218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9" descr="RBC%2520Leo%2520only">
            <a:hlinkClick r:id="rId6"/>
          </p:cNvPr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2756812" y="7188817"/>
            <a:ext cx="516773" cy="445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 noChangeArrowheads="1"/>
          </p:cNvSpPr>
          <p:nvPr>
            <p:ph type="title"/>
          </p:nvPr>
        </p:nvSpPr>
        <p:spPr bwMode="gray">
          <a:xfrm>
            <a:off x="863466" y="68355"/>
            <a:ext cx="12083695" cy="69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23395" y="7145465"/>
            <a:ext cx="1151285" cy="346004"/>
          </a:xfrm>
          <a:prstGeom prst="rect">
            <a:avLst/>
          </a:prstGeom>
        </p:spPr>
        <p:txBody>
          <a:bodyPr lIns="81804" tIns="40899" rIns="81804" bIns="40899" anchor="b"/>
          <a:lstStyle>
            <a:lvl1pPr algn="l"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1036290">
              <a:defRPr/>
            </a:pPr>
            <a:fld id="{18142613-925B-42A1-9883-D15B21D6E175}" type="slidenum">
              <a:rPr lang="en-US" smtClean="0">
                <a:solidFill>
                  <a:srgbClr val="000000"/>
                </a:solidFill>
              </a:rPr>
              <a:pPr defTabSz="1036290"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302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6203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xmlns="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xmlns="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9" y="1027524"/>
            <a:ext cx="6029498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28605"/>
            <a:ext cx="6029498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3" y="448056"/>
            <a:ext cx="12586577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1113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8919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heading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0755" y="1353038"/>
            <a:ext cx="6257931" cy="1347656"/>
          </a:xfrm>
        </p:spPr>
        <p:txBody>
          <a:bodyPr>
            <a:spAutoFit/>
          </a:bodyPr>
          <a:lstStyle>
            <a:lvl1pPr>
              <a:defRPr sz="1374"/>
            </a:lvl1pPr>
            <a:lvl2pPr>
              <a:defRPr sz="1374"/>
            </a:lvl2pPr>
            <a:lvl3pPr>
              <a:defRPr sz="1374"/>
            </a:lvl3pPr>
            <a:lvl4pPr>
              <a:defRPr sz="1374"/>
            </a:lvl4pPr>
            <a:lvl5pPr>
              <a:defRPr sz="1374"/>
            </a:lvl5pPr>
            <a:lvl6pPr>
              <a:defRPr sz="2473"/>
            </a:lvl6pPr>
            <a:lvl7pPr>
              <a:defRPr sz="2473"/>
            </a:lvl7pPr>
            <a:lvl8pPr>
              <a:defRPr sz="2473"/>
            </a:lvl8pPr>
            <a:lvl9pPr>
              <a:defRPr sz="247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08016" y="1353038"/>
            <a:ext cx="6260113" cy="1347656"/>
          </a:xfrm>
        </p:spPr>
        <p:txBody>
          <a:bodyPr>
            <a:spAutoFit/>
          </a:bodyPr>
          <a:lstStyle>
            <a:lvl1pPr>
              <a:defRPr sz="1374"/>
            </a:lvl1pPr>
            <a:lvl2pPr>
              <a:defRPr sz="1374"/>
            </a:lvl2pPr>
            <a:lvl3pPr>
              <a:defRPr sz="1374"/>
            </a:lvl3pPr>
            <a:lvl4pPr>
              <a:defRPr sz="1374"/>
            </a:lvl4pPr>
            <a:lvl5pPr>
              <a:defRPr sz="1374"/>
            </a:lvl5pPr>
            <a:lvl6pPr>
              <a:defRPr sz="2473"/>
            </a:lvl6pPr>
            <a:lvl7pPr>
              <a:defRPr sz="2473"/>
            </a:lvl7pPr>
            <a:lvl8pPr>
              <a:defRPr sz="2473"/>
            </a:lvl8pPr>
            <a:lvl9pPr>
              <a:defRPr sz="247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265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heading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738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6486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96" descr="ITS CM title letter banner-C_v2"/>
          <p:cNvPicPr preferRelativeResize="0"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"/>
          <a:stretch>
            <a:fillRect/>
          </a:stretch>
        </p:blipFill>
        <p:spPr bwMode="auto">
          <a:xfrm>
            <a:off x="359036" y="289576"/>
            <a:ext cx="13099529" cy="3719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395"/>
          <p:cNvSpPr>
            <a:spLocks noChangeArrowheads="1"/>
          </p:cNvSpPr>
          <p:nvPr userDrawn="1"/>
        </p:nvSpPr>
        <p:spPr bwMode="auto">
          <a:xfrm>
            <a:off x="356511" y="291174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1036290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1" y="1084532"/>
            <a:ext cx="4144626" cy="292329"/>
          </a:xfrm>
        </p:spPr>
        <p:txBody>
          <a:bodyPr>
            <a:spAutoFit/>
          </a:bodyPr>
          <a:lstStyle>
            <a:lvl1pPr>
              <a:defRPr sz="18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1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5" indent="0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6475" y="3562418"/>
            <a:ext cx="3222725" cy="141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066571">
              <a:defRPr sz="900" i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FFFFFF"/>
                </a:solidFill>
              </a:rPr>
              <a:t>February 13, 2019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 userDrawn="1"/>
        </p:nvSpPr>
        <p:spPr bwMode="auto">
          <a:xfrm>
            <a:off x="706478" y="4117807"/>
            <a:ext cx="322926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042988" rtl="0" fontAlgn="base">
              <a:spcBef>
                <a:spcPct val="0"/>
              </a:spcBef>
              <a:spcAft>
                <a:spcPct val="0"/>
              </a:spcAft>
              <a:defRPr sz="10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588" algn="l" defTabSz="1042988" rtl="0" fontAlgn="base">
              <a:spcBef>
                <a:spcPts val="8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+mn-lt"/>
              </a:defRPr>
            </a:lvl2pPr>
            <a:lvl3pPr marL="152400" indent="-149225" algn="l" defTabSz="1042988" rtl="0" fontAlgn="base"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3pPr>
            <a:lvl4pPr marL="309563" indent="-155575" algn="l" defTabSz="1042988" rtl="0" fontAlgn="base">
              <a:spcBef>
                <a:spcPts val="400"/>
              </a:spcBef>
              <a:spcAft>
                <a:spcPct val="0"/>
              </a:spcAft>
              <a:buSzPct val="85000"/>
              <a:buFont typeface="Arial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490538" indent="-179388" algn="l" defTabSz="1042988" rtl="0" fontAlgn="base">
              <a:spcBef>
                <a:spcPts val="200"/>
              </a:spcBef>
              <a:spcAft>
                <a:spcPct val="0"/>
              </a:spcAft>
              <a:buSzPct val="65000"/>
              <a:buFont typeface="Arial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947738" indent="-179388" algn="l" defTabSz="1042988" rtl="0" fontAlgn="base">
              <a:spcBef>
                <a:spcPts val="200"/>
              </a:spcBef>
              <a:spcAft>
                <a:spcPct val="0"/>
              </a:spcAft>
              <a:buSzPct val="65000"/>
              <a:buFont typeface="Arial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1404938" indent="-179388" algn="l" defTabSz="1042988" rtl="0" fontAlgn="base">
              <a:spcBef>
                <a:spcPts val="200"/>
              </a:spcBef>
              <a:spcAft>
                <a:spcPct val="0"/>
              </a:spcAft>
              <a:buSzPct val="65000"/>
              <a:buFont typeface="Arial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1862138" indent="-179388" algn="l" defTabSz="1042988" rtl="0" fontAlgn="base">
              <a:spcBef>
                <a:spcPts val="200"/>
              </a:spcBef>
              <a:spcAft>
                <a:spcPct val="0"/>
              </a:spcAft>
              <a:buSzPct val="65000"/>
              <a:buFont typeface="Arial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2319338" indent="-179388" algn="l" defTabSz="1042988" rtl="0" fontAlgn="base">
              <a:spcBef>
                <a:spcPts val="200"/>
              </a:spcBef>
              <a:spcAft>
                <a:spcPct val="0"/>
              </a:spcAft>
              <a:buSzPct val="65000"/>
              <a:buFont typeface="Arial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b="1" dirty="0" smtClean="0">
                <a:solidFill>
                  <a:srgbClr val="000000"/>
                </a:solidFill>
              </a:rPr>
              <a:t>STRICTLY PRIVATE AND CONFIDENTIAL</a:t>
            </a:r>
            <a:endParaRPr lang="en-US" sz="900" b="1" dirty="0">
              <a:solidFill>
                <a:srgbClr val="000000"/>
              </a:solidFill>
            </a:endParaRPr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12411136" y="6655041"/>
            <a:ext cx="766445" cy="640669"/>
            <a:chOff x="1854" y="1072"/>
            <a:chExt cx="1429" cy="1641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1482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96" descr="ITS CM title letter banner-C_v2"/>
          <p:cNvPicPr preferRelativeResize="0"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"/>
          <a:stretch>
            <a:fillRect/>
          </a:stretch>
        </p:blipFill>
        <p:spPr bwMode="auto">
          <a:xfrm>
            <a:off x="359036" y="289576"/>
            <a:ext cx="13099529" cy="3719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395"/>
          <p:cNvSpPr>
            <a:spLocks noChangeArrowheads="1"/>
          </p:cNvSpPr>
          <p:nvPr userDrawn="1"/>
        </p:nvSpPr>
        <p:spPr bwMode="auto">
          <a:xfrm>
            <a:off x="356511" y="291174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1036290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1" y="1084532"/>
            <a:ext cx="4144626" cy="292329"/>
          </a:xfrm>
        </p:spPr>
        <p:txBody>
          <a:bodyPr>
            <a:spAutoFit/>
          </a:bodyPr>
          <a:lstStyle>
            <a:lvl1pPr>
              <a:defRPr sz="18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1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5" indent="0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19" name="Group 4"/>
          <p:cNvGrpSpPr>
            <a:grpSpLocks noChangeAspect="1"/>
          </p:cNvGrpSpPr>
          <p:nvPr userDrawn="1"/>
        </p:nvGrpSpPr>
        <p:grpSpPr bwMode="auto">
          <a:xfrm>
            <a:off x="12411136" y="6655041"/>
            <a:ext cx="766445" cy="640669"/>
            <a:chOff x="1854" y="1072"/>
            <a:chExt cx="1429" cy="1641"/>
          </a:xfrm>
        </p:grpSpPr>
        <p:sp>
          <p:nvSpPr>
            <p:cNvPr id="20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3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36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7" name="Rectangle 395"/>
          <p:cNvSpPr>
            <a:spLocks noChangeArrowheads="1"/>
          </p:cNvSpPr>
          <p:nvPr/>
        </p:nvSpPr>
        <p:spPr bwMode="auto">
          <a:xfrm>
            <a:off x="364141" y="291174"/>
            <a:ext cx="13104588" cy="723302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1036290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471" y="1084532"/>
            <a:ext cx="4144626" cy="292329"/>
          </a:xfrm>
        </p:spPr>
        <p:txBody>
          <a:bodyPr>
            <a:spAutoFit/>
          </a:bodyPr>
          <a:lstStyle>
            <a:lvl1pPr>
              <a:defRPr sz="1899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6471" y="1748592"/>
            <a:ext cx="4144626" cy="19729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0">
            <a:noAutofit/>
          </a:bodyPr>
          <a:lstStyle>
            <a:lvl1pPr marL="18285" indent="0">
              <a:buNone/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8" name="Group 50"/>
          <p:cNvGrpSpPr>
            <a:grpSpLocks/>
          </p:cNvGrpSpPr>
          <p:nvPr userDrawn="1"/>
        </p:nvGrpSpPr>
        <p:grpSpPr bwMode="auto">
          <a:xfrm>
            <a:off x="351056" y="291170"/>
            <a:ext cx="13106768" cy="3722799"/>
            <a:chOff x="137" y="143"/>
            <a:chExt cx="6064" cy="2303"/>
          </a:xfrm>
        </p:grpSpPr>
        <p:sp>
          <p:nvSpPr>
            <p:cNvPr id="9" name="Line 45"/>
            <p:cNvSpPr>
              <a:spLocks noChangeShapeType="1"/>
            </p:cNvSpPr>
            <p:nvPr userDrawn="1"/>
          </p:nvSpPr>
          <p:spPr bwMode="auto">
            <a:xfrm>
              <a:off x="137" y="2446"/>
              <a:ext cx="6064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 userDrawn="1"/>
          </p:nvSpPr>
          <p:spPr bwMode="auto">
            <a:xfrm rot="-5400000">
              <a:off x="1267" y="1295"/>
              <a:ext cx="2303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12411136" y="6655041"/>
            <a:ext cx="766445" cy="640669"/>
            <a:chOff x="1854" y="1072"/>
            <a:chExt cx="1429" cy="1641"/>
          </a:xfrm>
        </p:grpSpPr>
        <p:sp>
          <p:nvSpPr>
            <p:cNvPr id="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072"/>
              <a:ext cx="1429" cy="1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1854" y="1072"/>
              <a:ext cx="1250" cy="1641"/>
            </a:xfrm>
            <a:custGeom>
              <a:avLst/>
              <a:gdLst>
                <a:gd name="T0" fmla="*/ 12496 w 12499"/>
                <a:gd name="T1" fmla="*/ 14499 h 16410"/>
                <a:gd name="T2" fmla="*/ 12483 w 12499"/>
                <a:gd name="T3" fmla="*/ 14638 h 16410"/>
                <a:gd name="T4" fmla="*/ 12457 w 12499"/>
                <a:gd name="T5" fmla="*/ 14766 h 16410"/>
                <a:gd name="T6" fmla="*/ 12420 w 12499"/>
                <a:gd name="T7" fmla="*/ 14882 h 16410"/>
                <a:gd name="T8" fmla="*/ 12372 w 12499"/>
                <a:gd name="T9" fmla="*/ 14988 h 16410"/>
                <a:gd name="T10" fmla="*/ 12312 w 12499"/>
                <a:gd name="T11" fmla="*/ 15084 h 16410"/>
                <a:gd name="T12" fmla="*/ 12240 w 12499"/>
                <a:gd name="T13" fmla="*/ 15170 h 16410"/>
                <a:gd name="T14" fmla="*/ 12157 w 12499"/>
                <a:gd name="T15" fmla="*/ 15247 h 16410"/>
                <a:gd name="T16" fmla="*/ 12064 w 12499"/>
                <a:gd name="T17" fmla="*/ 15315 h 16410"/>
                <a:gd name="T18" fmla="*/ 11958 w 12499"/>
                <a:gd name="T19" fmla="*/ 15373 h 16410"/>
                <a:gd name="T20" fmla="*/ 11842 w 12499"/>
                <a:gd name="T21" fmla="*/ 15424 h 16410"/>
                <a:gd name="T22" fmla="*/ 11358 w 12499"/>
                <a:gd name="T23" fmla="*/ 15599 h 16410"/>
                <a:gd name="T24" fmla="*/ 10861 w 12499"/>
                <a:gd name="T25" fmla="*/ 15757 h 16410"/>
                <a:gd name="T26" fmla="*/ 10352 w 12499"/>
                <a:gd name="T27" fmla="*/ 15898 h 16410"/>
                <a:gd name="T28" fmla="*/ 9831 w 12499"/>
                <a:gd name="T29" fmla="*/ 16022 h 16410"/>
                <a:gd name="T30" fmla="*/ 9303 w 12499"/>
                <a:gd name="T31" fmla="*/ 16129 h 16410"/>
                <a:gd name="T32" fmla="*/ 8768 w 12499"/>
                <a:gd name="T33" fmla="*/ 16219 h 16410"/>
                <a:gd name="T34" fmla="*/ 8229 w 12499"/>
                <a:gd name="T35" fmla="*/ 16292 h 16410"/>
                <a:gd name="T36" fmla="*/ 7688 w 12499"/>
                <a:gd name="T37" fmla="*/ 16347 h 16410"/>
                <a:gd name="T38" fmla="*/ 7147 w 12499"/>
                <a:gd name="T39" fmla="*/ 16385 h 16410"/>
                <a:gd name="T40" fmla="*/ 6607 w 12499"/>
                <a:gd name="T41" fmla="*/ 16406 h 16410"/>
                <a:gd name="T42" fmla="*/ 6071 w 12499"/>
                <a:gd name="T43" fmla="*/ 16409 h 16410"/>
                <a:gd name="T44" fmla="*/ 5532 w 12499"/>
                <a:gd name="T45" fmla="*/ 16395 h 16410"/>
                <a:gd name="T46" fmla="*/ 4991 w 12499"/>
                <a:gd name="T47" fmla="*/ 16363 h 16410"/>
                <a:gd name="T48" fmla="*/ 4449 w 12499"/>
                <a:gd name="T49" fmla="*/ 16313 h 16410"/>
                <a:gd name="T50" fmla="*/ 3909 w 12499"/>
                <a:gd name="T51" fmla="*/ 16246 h 16410"/>
                <a:gd name="T52" fmla="*/ 3373 w 12499"/>
                <a:gd name="T53" fmla="*/ 16161 h 16410"/>
                <a:gd name="T54" fmla="*/ 2842 w 12499"/>
                <a:gd name="T55" fmla="*/ 16060 h 16410"/>
                <a:gd name="T56" fmla="*/ 2320 w 12499"/>
                <a:gd name="T57" fmla="*/ 15941 h 16410"/>
                <a:gd name="T58" fmla="*/ 1806 w 12499"/>
                <a:gd name="T59" fmla="*/ 15806 h 16410"/>
                <a:gd name="T60" fmla="*/ 1304 w 12499"/>
                <a:gd name="T61" fmla="*/ 15653 h 16410"/>
                <a:gd name="T62" fmla="*/ 816 w 12499"/>
                <a:gd name="T63" fmla="*/ 15484 h 16410"/>
                <a:gd name="T64" fmla="*/ 578 w 12499"/>
                <a:gd name="T65" fmla="*/ 15392 h 16410"/>
                <a:gd name="T66" fmla="*/ 469 w 12499"/>
                <a:gd name="T67" fmla="*/ 15335 h 16410"/>
                <a:gd name="T68" fmla="*/ 371 w 12499"/>
                <a:gd name="T69" fmla="*/ 15271 h 16410"/>
                <a:gd name="T70" fmla="*/ 284 w 12499"/>
                <a:gd name="T71" fmla="*/ 15197 h 16410"/>
                <a:gd name="T72" fmla="*/ 209 w 12499"/>
                <a:gd name="T73" fmla="*/ 15114 h 16410"/>
                <a:gd name="T74" fmla="*/ 146 w 12499"/>
                <a:gd name="T75" fmla="*/ 15021 h 16410"/>
                <a:gd name="T76" fmla="*/ 93 w 12499"/>
                <a:gd name="T77" fmla="*/ 14919 h 16410"/>
                <a:gd name="T78" fmla="*/ 52 w 12499"/>
                <a:gd name="T79" fmla="*/ 14806 h 16410"/>
                <a:gd name="T80" fmla="*/ 24 w 12499"/>
                <a:gd name="T81" fmla="*/ 14682 h 16410"/>
                <a:gd name="T82" fmla="*/ 5 w 12499"/>
                <a:gd name="T83" fmla="*/ 14546 h 16410"/>
                <a:gd name="T84" fmla="*/ 0 w 12499"/>
                <a:gd name="T85" fmla="*/ 14400 h 16410"/>
                <a:gd name="T86" fmla="*/ 12499 w 12499"/>
                <a:gd name="T87" fmla="*/ 14400 h 16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99" h="16410">
                  <a:moveTo>
                    <a:pt x="12499" y="14400"/>
                  </a:moveTo>
                  <a:lnTo>
                    <a:pt x="12498" y="14450"/>
                  </a:lnTo>
                  <a:lnTo>
                    <a:pt x="12496" y="14499"/>
                  </a:lnTo>
                  <a:lnTo>
                    <a:pt x="12493" y="14546"/>
                  </a:lnTo>
                  <a:lnTo>
                    <a:pt x="12489" y="14593"/>
                  </a:lnTo>
                  <a:lnTo>
                    <a:pt x="12483" y="14638"/>
                  </a:lnTo>
                  <a:lnTo>
                    <a:pt x="12476" y="14682"/>
                  </a:lnTo>
                  <a:lnTo>
                    <a:pt x="12467" y="14725"/>
                  </a:lnTo>
                  <a:lnTo>
                    <a:pt x="12457" y="14766"/>
                  </a:lnTo>
                  <a:lnTo>
                    <a:pt x="12447" y="14806"/>
                  </a:lnTo>
                  <a:lnTo>
                    <a:pt x="12434" y="14845"/>
                  </a:lnTo>
                  <a:lnTo>
                    <a:pt x="12420" y="14882"/>
                  </a:lnTo>
                  <a:lnTo>
                    <a:pt x="12406" y="14919"/>
                  </a:lnTo>
                  <a:lnTo>
                    <a:pt x="12389" y="14954"/>
                  </a:lnTo>
                  <a:lnTo>
                    <a:pt x="12372" y="14988"/>
                  </a:lnTo>
                  <a:lnTo>
                    <a:pt x="12353" y="15021"/>
                  </a:lnTo>
                  <a:lnTo>
                    <a:pt x="12334" y="15053"/>
                  </a:lnTo>
                  <a:lnTo>
                    <a:pt x="12312" y="15084"/>
                  </a:lnTo>
                  <a:lnTo>
                    <a:pt x="12290" y="15114"/>
                  </a:lnTo>
                  <a:lnTo>
                    <a:pt x="12265" y="15142"/>
                  </a:lnTo>
                  <a:lnTo>
                    <a:pt x="12240" y="15170"/>
                  </a:lnTo>
                  <a:lnTo>
                    <a:pt x="12214" y="15197"/>
                  </a:lnTo>
                  <a:lnTo>
                    <a:pt x="12187" y="15222"/>
                  </a:lnTo>
                  <a:lnTo>
                    <a:pt x="12157" y="15247"/>
                  </a:lnTo>
                  <a:lnTo>
                    <a:pt x="12127" y="15271"/>
                  </a:lnTo>
                  <a:lnTo>
                    <a:pt x="12097" y="15293"/>
                  </a:lnTo>
                  <a:lnTo>
                    <a:pt x="12064" y="15315"/>
                  </a:lnTo>
                  <a:lnTo>
                    <a:pt x="12030" y="15335"/>
                  </a:lnTo>
                  <a:lnTo>
                    <a:pt x="11995" y="15355"/>
                  </a:lnTo>
                  <a:lnTo>
                    <a:pt x="11958" y="15373"/>
                  </a:lnTo>
                  <a:lnTo>
                    <a:pt x="11921" y="15392"/>
                  </a:lnTo>
                  <a:lnTo>
                    <a:pt x="11882" y="15408"/>
                  </a:lnTo>
                  <a:lnTo>
                    <a:pt x="11842" y="15424"/>
                  </a:lnTo>
                  <a:lnTo>
                    <a:pt x="11683" y="15484"/>
                  </a:lnTo>
                  <a:lnTo>
                    <a:pt x="11522" y="15542"/>
                  </a:lnTo>
                  <a:lnTo>
                    <a:pt x="11358" y="15599"/>
                  </a:lnTo>
                  <a:lnTo>
                    <a:pt x="11194" y="15653"/>
                  </a:lnTo>
                  <a:lnTo>
                    <a:pt x="11029" y="15706"/>
                  </a:lnTo>
                  <a:lnTo>
                    <a:pt x="10861" y="15757"/>
                  </a:lnTo>
                  <a:lnTo>
                    <a:pt x="10693" y="15806"/>
                  </a:lnTo>
                  <a:lnTo>
                    <a:pt x="10523" y="15853"/>
                  </a:lnTo>
                  <a:lnTo>
                    <a:pt x="10352" y="15898"/>
                  </a:lnTo>
                  <a:lnTo>
                    <a:pt x="10179" y="15941"/>
                  </a:lnTo>
                  <a:lnTo>
                    <a:pt x="10006" y="15982"/>
                  </a:lnTo>
                  <a:lnTo>
                    <a:pt x="9831" y="16022"/>
                  </a:lnTo>
                  <a:lnTo>
                    <a:pt x="9656" y="16060"/>
                  </a:lnTo>
                  <a:lnTo>
                    <a:pt x="9480" y="16095"/>
                  </a:lnTo>
                  <a:lnTo>
                    <a:pt x="9303" y="16129"/>
                  </a:lnTo>
                  <a:lnTo>
                    <a:pt x="9126" y="16161"/>
                  </a:lnTo>
                  <a:lnTo>
                    <a:pt x="8947" y="16192"/>
                  </a:lnTo>
                  <a:lnTo>
                    <a:pt x="8768" y="16219"/>
                  </a:lnTo>
                  <a:lnTo>
                    <a:pt x="8589" y="16246"/>
                  </a:lnTo>
                  <a:lnTo>
                    <a:pt x="8409" y="16269"/>
                  </a:lnTo>
                  <a:lnTo>
                    <a:pt x="8229" y="16292"/>
                  </a:lnTo>
                  <a:lnTo>
                    <a:pt x="8050" y="16313"/>
                  </a:lnTo>
                  <a:lnTo>
                    <a:pt x="7869" y="16331"/>
                  </a:lnTo>
                  <a:lnTo>
                    <a:pt x="7688" y="16347"/>
                  </a:lnTo>
                  <a:lnTo>
                    <a:pt x="7507" y="16363"/>
                  </a:lnTo>
                  <a:lnTo>
                    <a:pt x="7328" y="16375"/>
                  </a:lnTo>
                  <a:lnTo>
                    <a:pt x="7147" y="16385"/>
                  </a:lnTo>
                  <a:lnTo>
                    <a:pt x="6966" y="16395"/>
                  </a:lnTo>
                  <a:lnTo>
                    <a:pt x="6787" y="16402"/>
                  </a:lnTo>
                  <a:lnTo>
                    <a:pt x="6607" y="16406"/>
                  </a:lnTo>
                  <a:lnTo>
                    <a:pt x="6428" y="16409"/>
                  </a:lnTo>
                  <a:lnTo>
                    <a:pt x="6250" y="16410"/>
                  </a:lnTo>
                  <a:lnTo>
                    <a:pt x="6071" y="16409"/>
                  </a:lnTo>
                  <a:lnTo>
                    <a:pt x="5891" y="16406"/>
                  </a:lnTo>
                  <a:lnTo>
                    <a:pt x="5711" y="16402"/>
                  </a:lnTo>
                  <a:lnTo>
                    <a:pt x="5532" y="16395"/>
                  </a:lnTo>
                  <a:lnTo>
                    <a:pt x="5352" y="16385"/>
                  </a:lnTo>
                  <a:lnTo>
                    <a:pt x="5171" y="16375"/>
                  </a:lnTo>
                  <a:lnTo>
                    <a:pt x="4991" y="16363"/>
                  </a:lnTo>
                  <a:lnTo>
                    <a:pt x="4811" y="16347"/>
                  </a:lnTo>
                  <a:lnTo>
                    <a:pt x="4630" y="16331"/>
                  </a:lnTo>
                  <a:lnTo>
                    <a:pt x="4449" y="16313"/>
                  </a:lnTo>
                  <a:lnTo>
                    <a:pt x="4269" y="16292"/>
                  </a:lnTo>
                  <a:lnTo>
                    <a:pt x="4089" y="16269"/>
                  </a:lnTo>
                  <a:lnTo>
                    <a:pt x="3909" y="16246"/>
                  </a:lnTo>
                  <a:lnTo>
                    <a:pt x="3731" y="16219"/>
                  </a:lnTo>
                  <a:lnTo>
                    <a:pt x="3552" y="16192"/>
                  </a:lnTo>
                  <a:lnTo>
                    <a:pt x="3373" y="16161"/>
                  </a:lnTo>
                  <a:lnTo>
                    <a:pt x="3196" y="16129"/>
                  </a:lnTo>
                  <a:lnTo>
                    <a:pt x="3019" y="16095"/>
                  </a:lnTo>
                  <a:lnTo>
                    <a:pt x="2842" y="16060"/>
                  </a:lnTo>
                  <a:lnTo>
                    <a:pt x="2667" y="16022"/>
                  </a:lnTo>
                  <a:lnTo>
                    <a:pt x="2493" y="15982"/>
                  </a:lnTo>
                  <a:lnTo>
                    <a:pt x="2320" y="15941"/>
                  </a:lnTo>
                  <a:lnTo>
                    <a:pt x="2147" y="15898"/>
                  </a:lnTo>
                  <a:lnTo>
                    <a:pt x="1976" y="15853"/>
                  </a:lnTo>
                  <a:lnTo>
                    <a:pt x="1806" y="15806"/>
                  </a:lnTo>
                  <a:lnTo>
                    <a:pt x="1637" y="15757"/>
                  </a:lnTo>
                  <a:lnTo>
                    <a:pt x="1469" y="15706"/>
                  </a:lnTo>
                  <a:lnTo>
                    <a:pt x="1304" y="15653"/>
                  </a:lnTo>
                  <a:lnTo>
                    <a:pt x="1140" y="15599"/>
                  </a:lnTo>
                  <a:lnTo>
                    <a:pt x="978" y="15542"/>
                  </a:lnTo>
                  <a:lnTo>
                    <a:pt x="816" y="15484"/>
                  </a:lnTo>
                  <a:lnTo>
                    <a:pt x="657" y="15424"/>
                  </a:lnTo>
                  <a:lnTo>
                    <a:pt x="617" y="15408"/>
                  </a:lnTo>
                  <a:lnTo>
                    <a:pt x="578" y="15392"/>
                  </a:lnTo>
                  <a:lnTo>
                    <a:pt x="540" y="15373"/>
                  </a:lnTo>
                  <a:lnTo>
                    <a:pt x="504" y="15355"/>
                  </a:lnTo>
                  <a:lnTo>
                    <a:pt x="469" y="15335"/>
                  </a:lnTo>
                  <a:lnTo>
                    <a:pt x="435" y="15315"/>
                  </a:lnTo>
                  <a:lnTo>
                    <a:pt x="403" y="15293"/>
                  </a:lnTo>
                  <a:lnTo>
                    <a:pt x="371" y="15271"/>
                  </a:lnTo>
                  <a:lnTo>
                    <a:pt x="341" y="15247"/>
                  </a:lnTo>
                  <a:lnTo>
                    <a:pt x="312" y="15222"/>
                  </a:lnTo>
                  <a:lnTo>
                    <a:pt x="284" y="15197"/>
                  </a:lnTo>
                  <a:lnTo>
                    <a:pt x="258" y="15170"/>
                  </a:lnTo>
                  <a:lnTo>
                    <a:pt x="233" y="15142"/>
                  </a:lnTo>
                  <a:lnTo>
                    <a:pt x="209" y="15114"/>
                  </a:lnTo>
                  <a:lnTo>
                    <a:pt x="187" y="15084"/>
                  </a:lnTo>
                  <a:lnTo>
                    <a:pt x="165" y="15053"/>
                  </a:lnTo>
                  <a:lnTo>
                    <a:pt x="146" y="15021"/>
                  </a:lnTo>
                  <a:lnTo>
                    <a:pt x="126" y="14988"/>
                  </a:lnTo>
                  <a:lnTo>
                    <a:pt x="109" y="14954"/>
                  </a:lnTo>
                  <a:lnTo>
                    <a:pt x="93" y="14919"/>
                  </a:lnTo>
                  <a:lnTo>
                    <a:pt x="78" y="14882"/>
                  </a:lnTo>
                  <a:lnTo>
                    <a:pt x="65" y="14845"/>
                  </a:lnTo>
                  <a:lnTo>
                    <a:pt x="52" y="14806"/>
                  </a:lnTo>
                  <a:lnTo>
                    <a:pt x="41" y="14766"/>
                  </a:lnTo>
                  <a:lnTo>
                    <a:pt x="32" y="14725"/>
                  </a:lnTo>
                  <a:lnTo>
                    <a:pt x="24" y="14682"/>
                  </a:lnTo>
                  <a:lnTo>
                    <a:pt x="16" y="14638"/>
                  </a:lnTo>
                  <a:lnTo>
                    <a:pt x="10" y="14593"/>
                  </a:lnTo>
                  <a:lnTo>
                    <a:pt x="5" y="14546"/>
                  </a:lnTo>
                  <a:lnTo>
                    <a:pt x="2" y="14499"/>
                  </a:lnTo>
                  <a:lnTo>
                    <a:pt x="1" y="14450"/>
                  </a:lnTo>
                  <a:lnTo>
                    <a:pt x="0" y="14400"/>
                  </a:lnTo>
                  <a:lnTo>
                    <a:pt x="0" y="0"/>
                  </a:lnTo>
                  <a:lnTo>
                    <a:pt x="12499" y="0"/>
                  </a:lnTo>
                  <a:lnTo>
                    <a:pt x="12499" y="14400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1925" y="1656"/>
              <a:ext cx="515" cy="568"/>
            </a:xfrm>
            <a:custGeom>
              <a:avLst/>
              <a:gdLst>
                <a:gd name="T0" fmla="*/ 2185 w 5146"/>
                <a:gd name="T1" fmla="*/ 2644 h 5682"/>
                <a:gd name="T2" fmla="*/ 1666 w 5146"/>
                <a:gd name="T3" fmla="*/ 2303 h 5682"/>
                <a:gd name="T4" fmla="*/ 1242 w 5146"/>
                <a:gd name="T5" fmla="*/ 1999 h 5682"/>
                <a:gd name="T6" fmla="*/ 907 w 5146"/>
                <a:gd name="T7" fmla="*/ 1726 h 5682"/>
                <a:gd name="T8" fmla="*/ 652 w 5146"/>
                <a:gd name="T9" fmla="*/ 1473 h 5682"/>
                <a:gd name="T10" fmla="*/ 471 w 5146"/>
                <a:gd name="T11" fmla="*/ 1230 h 5682"/>
                <a:gd name="T12" fmla="*/ 355 w 5146"/>
                <a:gd name="T13" fmla="*/ 987 h 5682"/>
                <a:gd name="T14" fmla="*/ 297 w 5146"/>
                <a:gd name="T15" fmla="*/ 733 h 5682"/>
                <a:gd name="T16" fmla="*/ 291 w 5146"/>
                <a:gd name="T17" fmla="*/ 578 h 5682"/>
                <a:gd name="T18" fmla="*/ 302 w 5146"/>
                <a:gd name="T19" fmla="*/ 437 h 5682"/>
                <a:gd name="T20" fmla="*/ 328 w 5146"/>
                <a:gd name="T21" fmla="*/ 286 h 5682"/>
                <a:gd name="T22" fmla="*/ 365 w 5146"/>
                <a:gd name="T23" fmla="*/ 142 h 5682"/>
                <a:gd name="T24" fmla="*/ 166 w 5146"/>
                <a:gd name="T25" fmla="*/ 81 h 5682"/>
                <a:gd name="T26" fmla="*/ 88 w 5146"/>
                <a:gd name="T27" fmla="*/ 257 h 5682"/>
                <a:gd name="T28" fmla="*/ 32 w 5146"/>
                <a:gd name="T29" fmla="*/ 445 h 5682"/>
                <a:gd name="T30" fmla="*/ 15 w 5146"/>
                <a:gd name="T31" fmla="*/ 542 h 5682"/>
                <a:gd name="T32" fmla="*/ 1 w 5146"/>
                <a:gd name="T33" fmla="*/ 685 h 5682"/>
                <a:gd name="T34" fmla="*/ 2 w 5146"/>
                <a:gd name="T35" fmla="*/ 808 h 5682"/>
                <a:gd name="T36" fmla="*/ 13 w 5146"/>
                <a:gd name="T37" fmla="*/ 952 h 5682"/>
                <a:gd name="T38" fmla="*/ 34 w 5146"/>
                <a:gd name="T39" fmla="*/ 1088 h 5682"/>
                <a:gd name="T40" fmla="*/ 66 w 5146"/>
                <a:gd name="T41" fmla="*/ 1215 h 5682"/>
                <a:gd name="T42" fmla="*/ 106 w 5146"/>
                <a:gd name="T43" fmla="*/ 1334 h 5682"/>
                <a:gd name="T44" fmla="*/ 153 w 5146"/>
                <a:gd name="T45" fmla="*/ 1447 h 5682"/>
                <a:gd name="T46" fmla="*/ 205 w 5146"/>
                <a:gd name="T47" fmla="*/ 1553 h 5682"/>
                <a:gd name="T48" fmla="*/ 261 w 5146"/>
                <a:gd name="T49" fmla="*/ 1651 h 5682"/>
                <a:gd name="T50" fmla="*/ 337 w 5146"/>
                <a:gd name="T51" fmla="*/ 1767 h 5682"/>
                <a:gd name="T52" fmla="*/ 432 w 5146"/>
                <a:gd name="T53" fmla="*/ 1896 h 5682"/>
                <a:gd name="T54" fmla="*/ 535 w 5146"/>
                <a:gd name="T55" fmla="*/ 2019 h 5682"/>
                <a:gd name="T56" fmla="*/ 649 w 5146"/>
                <a:gd name="T57" fmla="*/ 2140 h 5682"/>
                <a:gd name="T58" fmla="*/ 778 w 5146"/>
                <a:gd name="T59" fmla="*/ 2265 h 5682"/>
                <a:gd name="T60" fmla="*/ 928 w 5146"/>
                <a:gd name="T61" fmla="*/ 2395 h 5682"/>
                <a:gd name="T62" fmla="*/ 1201 w 5146"/>
                <a:gd name="T63" fmla="*/ 2612 h 5682"/>
                <a:gd name="T64" fmla="*/ 1545 w 5146"/>
                <a:gd name="T65" fmla="*/ 2875 h 5682"/>
                <a:gd name="T66" fmla="*/ 1779 w 5146"/>
                <a:gd name="T67" fmla="*/ 3074 h 5682"/>
                <a:gd name="T68" fmla="*/ 1994 w 5146"/>
                <a:gd name="T69" fmla="*/ 3279 h 5682"/>
                <a:gd name="T70" fmla="*/ 2189 w 5146"/>
                <a:gd name="T71" fmla="*/ 3491 h 5682"/>
                <a:gd name="T72" fmla="*/ 2364 w 5146"/>
                <a:gd name="T73" fmla="*/ 3708 h 5682"/>
                <a:gd name="T74" fmla="*/ 2521 w 5146"/>
                <a:gd name="T75" fmla="*/ 3930 h 5682"/>
                <a:gd name="T76" fmla="*/ 2658 w 5146"/>
                <a:gd name="T77" fmla="*/ 4157 h 5682"/>
                <a:gd name="T78" fmla="*/ 2777 w 5146"/>
                <a:gd name="T79" fmla="*/ 4387 h 5682"/>
                <a:gd name="T80" fmla="*/ 2926 w 5146"/>
                <a:gd name="T81" fmla="*/ 3798 h 5682"/>
                <a:gd name="T82" fmla="*/ 3428 w 5146"/>
                <a:gd name="T83" fmla="*/ 4090 h 5682"/>
                <a:gd name="T84" fmla="*/ 3745 w 5146"/>
                <a:gd name="T85" fmla="*/ 4289 h 5682"/>
                <a:gd name="T86" fmla="*/ 4042 w 5146"/>
                <a:gd name="T87" fmla="*/ 4497 h 5682"/>
                <a:gd name="T88" fmla="*/ 4317 w 5146"/>
                <a:gd name="T89" fmla="*/ 4720 h 5682"/>
                <a:gd name="T90" fmla="*/ 4566 w 5146"/>
                <a:gd name="T91" fmla="*/ 4962 h 5682"/>
                <a:gd name="T92" fmla="*/ 4785 w 5146"/>
                <a:gd name="T93" fmla="*/ 5228 h 5682"/>
                <a:gd name="T94" fmla="*/ 4971 w 5146"/>
                <a:gd name="T95" fmla="*/ 5522 h 5682"/>
                <a:gd name="T96" fmla="*/ 5131 w 5146"/>
                <a:gd name="T97" fmla="*/ 5598 h 5682"/>
                <a:gd name="T98" fmla="*/ 5044 w 5146"/>
                <a:gd name="T99" fmla="*/ 5270 h 5682"/>
                <a:gd name="T100" fmla="*/ 4908 w 5146"/>
                <a:gd name="T101" fmla="*/ 4952 h 5682"/>
                <a:gd name="T102" fmla="*/ 4715 w 5146"/>
                <a:gd name="T103" fmla="*/ 4636 h 5682"/>
                <a:gd name="T104" fmla="*/ 4451 w 5146"/>
                <a:gd name="T105" fmla="*/ 4316 h 5682"/>
                <a:gd name="T106" fmla="*/ 4105 w 5146"/>
                <a:gd name="T107" fmla="*/ 3981 h 5682"/>
                <a:gd name="T108" fmla="*/ 3667 w 5146"/>
                <a:gd name="T109" fmla="*/ 3627 h 5682"/>
                <a:gd name="T110" fmla="*/ 3124 w 5146"/>
                <a:gd name="T111" fmla="*/ 3243 h 5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46" h="5682">
                  <a:moveTo>
                    <a:pt x="2642" y="2932"/>
                  </a:moveTo>
                  <a:lnTo>
                    <a:pt x="2484" y="2833"/>
                  </a:lnTo>
                  <a:lnTo>
                    <a:pt x="2331" y="2737"/>
                  </a:lnTo>
                  <a:lnTo>
                    <a:pt x="2185" y="2644"/>
                  </a:lnTo>
                  <a:lnTo>
                    <a:pt x="2046" y="2555"/>
                  </a:lnTo>
                  <a:lnTo>
                    <a:pt x="1914" y="2468"/>
                  </a:lnTo>
                  <a:lnTo>
                    <a:pt x="1786" y="2384"/>
                  </a:lnTo>
                  <a:lnTo>
                    <a:pt x="1666" y="2303"/>
                  </a:lnTo>
                  <a:lnTo>
                    <a:pt x="1551" y="2223"/>
                  </a:lnTo>
                  <a:lnTo>
                    <a:pt x="1442" y="2147"/>
                  </a:lnTo>
                  <a:lnTo>
                    <a:pt x="1340" y="2072"/>
                  </a:lnTo>
                  <a:lnTo>
                    <a:pt x="1242" y="1999"/>
                  </a:lnTo>
                  <a:lnTo>
                    <a:pt x="1151" y="1928"/>
                  </a:lnTo>
                  <a:lnTo>
                    <a:pt x="1064" y="1859"/>
                  </a:lnTo>
                  <a:lnTo>
                    <a:pt x="983" y="1792"/>
                  </a:lnTo>
                  <a:lnTo>
                    <a:pt x="907" y="1726"/>
                  </a:lnTo>
                  <a:lnTo>
                    <a:pt x="836" y="1661"/>
                  </a:lnTo>
                  <a:lnTo>
                    <a:pt x="770" y="1598"/>
                  </a:lnTo>
                  <a:lnTo>
                    <a:pt x="708" y="1534"/>
                  </a:lnTo>
                  <a:lnTo>
                    <a:pt x="652" y="1473"/>
                  </a:lnTo>
                  <a:lnTo>
                    <a:pt x="600" y="1411"/>
                  </a:lnTo>
                  <a:lnTo>
                    <a:pt x="552" y="1351"/>
                  </a:lnTo>
                  <a:lnTo>
                    <a:pt x="509" y="1289"/>
                  </a:lnTo>
                  <a:lnTo>
                    <a:pt x="471" y="1230"/>
                  </a:lnTo>
                  <a:lnTo>
                    <a:pt x="436" y="1169"/>
                  </a:lnTo>
                  <a:lnTo>
                    <a:pt x="405" y="1109"/>
                  </a:lnTo>
                  <a:lnTo>
                    <a:pt x="378" y="1047"/>
                  </a:lnTo>
                  <a:lnTo>
                    <a:pt x="355" y="987"/>
                  </a:lnTo>
                  <a:lnTo>
                    <a:pt x="335" y="924"/>
                  </a:lnTo>
                  <a:lnTo>
                    <a:pt x="319" y="862"/>
                  </a:lnTo>
                  <a:lnTo>
                    <a:pt x="307" y="798"/>
                  </a:lnTo>
                  <a:lnTo>
                    <a:pt x="297" y="733"/>
                  </a:lnTo>
                  <a:lnTo>
                    <a:pt x="291" y="668"/>
                  </a:lnTo>
                  <a:lnTo>
                    <a:pt x="290" y="640"/>
                  </a:lnTo>
                  <a:lnTo>
                    <a:pt x="290" y="610"/>
                  </a:lnTo>
                  <a:lnTo>
                    <a:pt x="291" y="578"/>
                  </a:lnTo>
                  <a:lnTo>
                    <a:pt x="293" y="545"/>
                  </a:lnTo>
                  <a:lnTo>
                    <a:pt x="295" y="510"/>
                  </a:lnTo>
                  <a:lnTo>
                    <a:pt x="298" y="474"/>
                  </a:lnTo>
                  <a:lnTo>
                    <a:pt x="302" y="437"/>
                  </a:lnTo>
                  <a:lnTo>
                    <a:pt x="309" y="399"/>
                  </a:lnTo>
                  <a:lnTo>
                    <a:pt x="314" y="362"/>
                  </a:lnTo>
                  <a:lnTo>
                    <a:pt x="321" y="324"/>
                  </a:lnTo>
                  <a:lnTo>
                    <a:pt x="328" y="286"/>
                  </a:lnTo>
                  <a:lnTo>
                    <a:pt x="336" y="249"/>
                  </a:lnTo>
                  <a:lnTo>
                    <a:pt x="346" y="212"/>
                  </a:lnTo>
                  <a:lnTo>
                    <a:pt x="355" y="176"/>
                  </a:lnTo>
                  <a:lnTo>
                    <a:pt x="365" y="142"/>
                  </a:lnTo>
                  <a:lnTo>
                    <a:pt x="376" y="109"/>
                  </a:lnTo>
                  <a:lnTo>
                    <a:pt x="213" y="0"/>
                  </a:lnTo>
                  <a:lnTo>
                    <a:pt x="190" y="40"/>
                  </a:lnTo>
                  <a:lnTo>
                    <a:pt x="166" y="81"/>
                  </a:lnTo>
                  <a:lnTo>
                    <a:pt x="144" y="124"/>
                  </a:lnTo>
                  <a:lnTo>
                    <a:pt x="125" y="167"/>
                  </a:lnTo>
                  <a:lnTo>
                    <a:pt x="105" y="211"/>
                  </a:lnTo>
                  <a:lnTo>
                    <a:pt x="88" y="257"/>
                  </a:lnTo>
                  <a:lnTo>
                    <a:pt x="71" y="304"/>
                  </a:lnTo>
                  <a:lnTo>
                    <a:pt x="57" y="350"/>
                  </a:lnTo>
                  <a:lnTo>
                    <a:pt x="44" y="398"/>
                  </a:lnTo>
                  <a:lnTo>
                    <a:pt x="32" y="445"/>
                  </a:lnTo>
                  <a:lnTo>
                    <a:pt x="27" y="470"/>
                  </a:lnTo>
                  <a:lnTo>
                    <a:pt x="23" y="493"/>
                  </a:lnTo>
                  <a:lnTo>
                    <a:pt x="18" y="518"/>
                  </a:lnTo>
                  <a:lnTo>
                    <a:pt x="15" y="542"/>
                  </a:lnTo>
                  <a:lnTo>
                    <a:pt x="8" y="590"/>
                  </a:lnTo>
                  <a:lnTo>
                    <a:pt x="4" y="637"/>
                  </a:lnTo>
                  <a:lnTo>
                    <a:pt x="2" y="662"/>
                  </a:lnTo>
                  <a:lnTo>
                    <a:pt x="1" y="685"/>
                  </a:lnTo>
                  <a:lnTo>
                    <a:pt x="0" y="709"/>
                  </a:lnTo>
                  <a:lnTo>
                    <a:pt x="0" y="732"/>
                  </a:lnTo>
                  <a:lnTo>
                    <a:pt x="0" y="770"/>
                  </a:lnTo>
                  <a:lnTo>
                    <a:pt x="2" y="808"/>
                  </a:lnTo>
                  <a:lnTo>
                    <a:pt x="3" y="845"/>
                  </a:lnTo>
                  <a:lnTo>
                    <a:pt x="6" y="881"/>
                  </a:lnTo>
                  <a:lnTo>
                    <a:pt x="9" y="917"/>
                  </a:lnTo>
                  <a:lnTo>
                    <a:pt x="13" y="952"/>
                  </a:lnTo>
                  <a:lnTo>
                    <a:pt x="17" y="987"/>
                  </a:lnTo>
                  <a:lnTo>
                    <a:pt x="22" y="1020"/>
                  </a:lnTo>
                  <a:lnTo>
                    <a:pt x="28" y="1054"/>
                  </a:lnTo>
                  <a:lnTo>
                    <a:pt x="34" y="1088"/>
                  </a:lnTo>
                  <a:lnTo>
                    <a:pt x="42" y="1121"/>
                  </a:lnTo>
                  <a:lnTo>
                    <a:pt x="50" y="1153"/>
                  </a:lnTo>
                  <a:lnTo>
                    <a:pt x="58" y="1185"/>
                  </a:lnTo>
                  <a:lnTo>
                    <a:pt x="66" y="1215"/>
                  </a:lnTo>
                  <a:lnTo>
                    <a:pt x="76" y="1246"/>
                  </a:lnTo>
                  <a:lnTo>
                    <a:pt x="85" y="1276"/>
                  </a:lnTo>
                  <a:lnTo>
                    <a:pt x="95" y="1306"/>
                  </a:lnTo>
                  <a:lnTo>
                    <a:pt x="106" y="1334"/>
                  </a:lnTo>
                  <a:lnTo>
                    <a:pt x="117" y="1363"/>
                  </a:lnTo>
                  <a:lnTo>
                    <a:pt x="128" y="1392"/>
                  </a:lnTo>
                  <a:lnTo>
                    <a:pt x="140" y="1419"/>
                  </a:lnTo>
                  <a:lnTo>
                    <a:pt x="153" y="1447"/>
                  </a:lnTo>
                  <a:lnTo>
                    <a:pt x="165" y="1474"/>
                  </a:lnTo>
                  <a:lnTo>
                    <a:pt x="178" y="1500"/>
                  </a:lnTo>
                  <a:lnTo>
                    <a:pt x="192" y="1527"/>
                  </a:lnTo>
                  <a:lnTo>
                    <a:pt x="205" y="1553"/>
                  </a:lnTo>
                  <a:lnTo>
                    <a:pt x="218" y="1577"/>
                  </a:lnTo>
                  <a:lnTo>
                    <a:pt x="233" y="1602"/>
                  </a:lnTo>
                  <a:lnTo>
                    <a:pt x="247" y="1627"/>
                  </a:lnTo>
                  <a:lnTo>
                    <a:pt x="261" y="1651"/>
                  </a:lnTo>
                  <a:lnTo>
                    <a:pt x="277" y="1675"/>
                  </a:lnTo>
                  <a:lnTo>
                    <a:pt x="291" y="1698"/>
                  </a:lnTo>
                  <a:lnTo>
                    <a:pt x="315" y="1733"/>
                  </a:lnTo>
                  <a:lnTo>
                    <a:pt x="337" y="1767"/>
                  </a:lnTo>
                  <a:lnTo>
                    <a:pt x="360" y="1800"/>
                  </a:lnTo>
                  <a:lnTo>
                    <a:pt x="384" y="1833"/>
                  </a:lnTo>
                  <a:lnTo>
                    <a:pt x="407" y="1865"/>
                  </a:lnTo>
                  <a:lnTo>
                    <a:pt x="432" y="1896"/>
                  </a:lnTo>
                  <a:lnTo>
                    <a:pt x="457" y="1927"/>
                  </a:lnTo>
                  <a:lnTo>
                    <a:pt x="482" y="1958"/>
                  </a:lnTo>
                  <a:lnTo>
                    <a:pt x="508" y="1989"/>
                  </a:lnTo>
                  <a:lnTo>
                    <a:pt x="535" y="2019"/>
                  </a:lnTo>
                  <a:lnTo>
                    <a:pt x="561" y="2050"/>
                  </a:lnTo>
                  <a:lnTo>
                    <a:pt x="589" y="2080"/>
                  </a:lnTo>
                  <a:lnTo>
                    <a:pt x="618" y="2111"/>
                  </a:lnTo>
                  <a:lnTo>
                    <a:pt x="649" y="2140"/>
                  </a:lnTo>
                  <a:lnTo>
                    <a:pt x="679" y="2171"/>
                  </a:lnTo>
                  <a:lnTo>
                    <a:pt x="711" y="2202"/>
                  </a:lnTo>
                  <a:lnTo>
                    <a:pt x="744" y="2233"/>
                  </a:lnTo>
                  <a:lnTo>
                    <a:pt x="778" y="2265"/>
                  </a:lnTo>
                  <a:lnTo>
                    <a:pt x="813" y="2296"/>
                  </a:lnTo>
                  <a:lnTo>
                    <a:pt x="850" y="2328"/>
                  </a:lnTo>
                  <a:lnTo>
                    <a:pt x="889" y="2361"/>
                  </a:lnTo>
                  <a:lnTo>
                    <a:pt x="928" y="2395"/>
                  </a:lnTo>
                  <a:lnTo>
                    <a:pt x="970" y="2429"/>
                  </a:lnTo>
                  <a:lnTo>
                    <a:pt x="1012" y="2464"/>
                  </a:lnTo>
                  <a:lnTo>
                    <a:pt x="1102" y="2536"/>
                  </a:lnTo>
                  <a:lnTo>
                    <a:pt x="1201" y="2612"/>
                  </a:lnTo>
                  <a:lnTo>
                    <a:pt x="1307" y="2693"/>
                  </a:lnTo>
                  <a:lnTo>
                    <a:pt x="1421" y="2778"/>
                  </a:lnTo>
                  <a:lnTo>
                    <a:pt x="1483" y="2827"/>
                  </a:lnTo>
                  <a:lnTo>
                    <a:pt x="1545" y="2875"/>
                  </a:lnTo>
                  <a:lnTo>
                    <a:pt x="1606" y="2924"/>
                  </a:lnTo>
                  <a:lnTo>
                    <a:pt x="1665" y="2973"/>
                  </a:lnTo>
                  <a:lnTo>
                    <a:pt x="1723" y="3024"/>
                  </a:lnTo>
                  <a:lnTo>
                    <a:pt x="1779" y="3074"/>
                  </a:lnTo>
                  <a:lnTo>
                    <a:pt x="1835" y="3124"/>
                  </a:lnTo>
                  <a:lnTo>
                    <a:pt x="1889" y="3175"/>
                  </a:lnTo>
                  <a:lnTo>
                    <a:pt x="1942" y="3228"/>
                  </a:lnTo>
                  <a:lnTo>
                    <a:pt x="1994" y="3279"/>
                  </a:lnTo>
                  <a:lnTo>
                    <a:pt x="2045" y="3331"/>
                  </a:lnTo>
                  <a:lnTo>
                    <a:pt x="2094" y="3385"/>
                  </a:lnTo>
                  <a:lnTo>
                    <a:pt x="2143" y="3438"/>
                  </a:lnTo>
                  <a:lnTo>
                    <a:pt x="2189" y="3491"/>
                  </a:lnTo>
                  <a:lnTo>
                    <a:pt x="2235" y="3545"/>
                  </a:lnTo>
                  <a:lnTo>
                    <a:pt x="2279" y="3599"/>
                  </a:lnTo>
                  <a:lnTo>
                    <a:pt x="2322" y="3653"/>
                  </a:lnTo>
                  <a:lnTo>
                    <a:pt x="2364" y="3708"/>
                  </a:lnTo>
                  <a:lnTo>
                    <a:pt x="2406" y="3763"/>
                  </a:lnTo>
                  <a:lnTo>
                    <a:pt x="2446" y="3818"/>
                  </a:lnTo>
                  <a:lnTo>
                    <a:pt x="2484" y="3875"/>
                  </a:lnTo>
                  <a:lnTo>
                    <a:pt x="2521" y="3930"/>
                  </a:lnTo>
                  <a:lnTo>
                    <a:pt x="2558" y="3987"/>
                  </a:lnTo>
                  <a:lnTo>
                    <a:pt x="2592" y="4043"/>
                  </a:lnTo>
                  <a:lnTo>
                    <a:pt x="2625" y="4100"/>
                  </a:lnTo>
                  <a:lnTo>
                    <a:pt x="2658" y="4157"/>
                  </a:lnTo>
                  <a:lnTo>
                    <a:pt x="2690" y="4214"/>
                  </a:lnTo>
                  <a:lnTo>
                    <a:pt x="2720" y="4272"/>
                  </a:lnTo>
                  <a:lnTo>
                    <a:pt x="2749" y="4329"/>
                  </a:lnTo>
                  <a:lnTo>
                    <a:pt x="2777" y="4387"/>
                  </a:lnTo>
                  <a:lnTo>
                    <a:pt x="2804" y="4445"/>
                  </a:lnTo>
                  <a:lnTo>
                    <a:pt x="2830" y="4502"/>
                  </a:lnTo>
                  <a:lnTo>
                    <a:pt x="2926" y="4502"/>
                  </a:lnTo>
                  <a:lnTo>
                    <a:pt x="2926" y="3798"/>
                  </a:lnTo>
                  <a:lnTo>
                    <a:pt x="3097" y="3895"/>
                  </a:lnTo>
                  <a:lnTo>
                    <a:pt x="3264" y="3992"/>
                  </a:lnTo>
                  <a:lnTo>
                    <a:pt x="3346" y="4041"/>
                  </a:lnTo>
                  <a:lnTo>
                    <a:pt x="3428" y="4090"/>
                  </a:lnTo>
                  <a:lnTo>
                    <a:pt x="3508" y="4139"/>
                  </a:lnTo>
                  <a:lnTo>
                    <a:pt x="3589" y="4189"/>
                  </a:lnTo>
                  <a:lnTo>
                    <a:pt x="3668" y="4239"/>
                  </a:lnTo>
                  <a:lnTo>
                    <a:pt x="3745" y="4289"/>
                  </a:lnTo>
                  <a:lnTo>
                    <a:pt x="3821" y="4340"/>
                  </a:lnTo>
                  <a:lnTo>
                    <a:pt x="3897" y="4392"/>
                  </a:lnTo>
                  <a:lnTo>
                    <a:pt x="3969" y="4444"/>
                  </a:lnTo>
                  <a:lnTo>
                    <a:pt x="4042" y="4497"/>
                  </a:lnTo>
                  <a:lnTo>
                    <a:pt x="4113" y="4552"/>
                  </a:lnTo>
                  <a:lnTo>
                    <a:pt x="4183" y="4607"/>
                  </a:lnTo>
                  <a:lnTo>
                    <a:pt x="4251" y="4664"/>
                  </a:lnTo>
                  <a:lnTo>
                    <a:pt x="4317" y="4720"/>
                  </a:lnTo>
                  <a:lnTo>
                    <a:pt x="4381" y="4778"/>
                  </a:lnTo>
                  <a:lnTo>
                    <a:pt x="4445" y="4839"/>
                  </a:lnTo>
                  <a:lnTo>
                    <a:pt x="4507" y="4899"/>
                  </a:lnTo>
                  <a:lnTo>
                    <a:pt x="4566" y="4962"/>
                  </a:lnTo>
                  <a:lnTo>
                    <a:pt x="4624" y="5027"/>
                  </a:lnTo>
                  <a:lnTo>
                    <a:pt x="4679" y="5091"/>
                  </a:lnTo>
                  <a:lnTo>
                    <a:pt x="4732" y="5159"/>
                  </a:lnTo>
                  <a:lnTo>
                    <a:pt x="4785" y="5228"/>
                  </a:lnTo>
                  <a:lnTo>
                    <a:pt x="4834" y="5298"/>
                  </a:lnTo>
                  <a:lnTo>
                    <a:pt x="4882" y="5371"/>
                  </a:lnTo>
                  <a:lnTo>
                    <a:pt x="4928" y="5446"/>
                  </a:lnTo>
                  <a:lnTo>
                    <a:pt x="4971" y="5522"/>
                  </a:lnTo>
                  <a:lnTo>
                    <a:pt x="5012" y="5601"/>
                  </a:lnTo>
                  <a:lnTo>
                    <a:pt x="5050" y="5682"/>
                  </a:lnTo>
                  <a:lnTo>
                    <a:pt x="5146" y="5682"/>
                  </a:lnTo>
                  <a:lnTo>
                    <a:pt x="5131" y="5598"/>
                  </a:lnTo>
                  <a:lnTo>
                    <a:pt x="5112" y="5514"/>
                  </a:lnTo>
                  <a:lnTo>
                    <a:pt x="5092" y="5432"/>
                  </a:lnTo>
                  <a:lnTo>
                    <a:pt x="5069" y="5351"/>
                  </a:lnTo>
                  <a:lnTo>
                    <a:pt x="5044" y="5270"/>
                  </a:lnTo>
                  <a:lnTo>
                    <a:pt x="5015" y="5190"/>
                  </a:lnTo>
                  <a:lnTo>
                    <a:pt x="4982" y="5110"/>
                  </a:lnTo>
                  <a:lnTo>
                    <a:pt x="4947" y="5031"/>
                  </a:lnTo>
                  <a:lnTo>
                    <a:pt x="4908" y="4952"/>
                  </a:lnTo>
                  <a:lnTo>
                    <a:pt x="4866" y="4873"/>
                  </a:lnTo>
                  <a:lnTo>
                    <a:pt x="4820" y="4794"/>
                  </a:lnTo>
                  <a:lnTo>
                    <a:pt x="4769" y="4715"/>
                  </a:lnTo>
                  <a:lnTo>
                    <a:pt x="4715" y="4636"/>
                  </a:lnTo>
                  <a:lnTo>
                    <a:pt x="4655" y="4557"/>
                  </a:lnTo>
                  <a:lnTo>
                    <a:pt x="4592" y="4477"/>
                  </a:lnTo>
                  <a:lnTo>
                    <a:pt x="4524" y="4396"/>
                  </a:lnTo>
                  <a:lnTo>
                    <a:pt x="4451" y="4316"/>
                  </a:lnTo>
                  <a:lnTo>
                    <a:pt x="4372" y="4233"/>
                  </a:lnTo>
                  <a:lnTo>
                    <a:pt x="4289" y="4151"/>
                  </a:lnTo>
                  <a:lnTo>
                    <a:pt x="4199" y="4067"/>
                  </a:lnTo>
                  <a:lnTo>
                    <a:pt x="4105" y="3981"/>
                  </a:lnTo>
                  <a:lnTo>
                    <a:pt x="4004" y="3895"/>
                  </a:lnTo>
                  <a:lnTo>
                    <a:pt x="3899" y="3807"/>
                  </a:lnTo>
                  <a:lnTo>
                    <a:pt x="3786" y="3717"/>
                  </a:lnTo>
                  <a:lnTo>
                    <a:pt x="3667" y="3627"/>
                  </a:lnTo>
                  <a:lnTo>
                    <a:pt x="3541" y="3533"/>
                  </a:lnTo>
                  <a:lnTo>
                    <a:pt x="3409" y="3439"/>
                  </a:lnTo>
                  <a:lnTo>
                    <a:pt x="3270" y="3342"/>
                  </a:lnTo>
                  <a:lnTo>
                    <a:pt x="3124" y="3243"/>
                  </a:lnTo>
                  <a:lnTo>
                    <a:pt x="2970" y="3141"/>
                  </a:lnTo>
                  <a:lnTo>
                    <a:pt x="2810" y="3039"/>
                  </a:lnTo>
                  <a:lnTo>
                    <a:pt x="2642" y="2932"/>
                  </a:lnTo>
                  <a:close/>
                </a:path>
              </a:pathLst>
            </a:custGeom>
            <a:solidFill>
              <a:srgbClr val="FCD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 noEditPoints="1"/>
            </p:cNvSpPr>
            <p:nvPr/>
          </p:nvSpPr>
          <p:spPr bwMode="auto">
            <a:xfrm>
              <a:off x="1926" y="1132"/>
              <a:ext cx="1110" cy="1115"/>
            </a:xfrm>
            <a:custGeom>
              <a:avLst/>
              <a:gdLst>
                <a:gd name="T0" fmla="*/ 6954 w 11102"/>
                <a:gd name="T1" fmla="*/ 6402 h 11149"/>
                <a:gd name="T2" fmla="*/ 10567 w 11102"/>
                <a:gd name="T3" fmla="*/ 8401 h 11149"/>
                <a:gd name="T4" fmla="*/ 9289 w 11102"/>
                <a:gd name="T5" fmla="*/ 8729 h 11149"/>
                <a:gd name="T6" fmla="*/ 8978 w 11102"/>
                <a:gd name="T7" fmla="*/ 6434 h 11149"/>
                <a:gd name="T8" fmla="*/ 8292 w 11102"/>
                <a:gd name="T9" fmla="*/ 5654 h 11149"/>
                <a:gd name="T10" fmla="*/ 9564 w 11102"/>
                <a:gd name="T11" fmla="*/ 7298 h 11149"/>
                <a:gd name="T12" fmla="*/ 9153 w 11102"/>
                <a:gd name="T13" fmla="*/ 7433 h 11149"/>
                <a:gd name="T14" fmla="*/ 7825 w 11102"/>
                <a:gd name="T15" fmla="*/ 7562 h 11149"/>
                <a:gd name="T16" fmla="*/ 6083 w 11102"/>
                <a:gd name="T17" fmla="*/ 5819 h 11149"/>
                <a:gd name="T18" fmla="*/ 7590 w 11102"/>
                <a:gd name="T19" fmla="*/ 5339 h 11149"/>
                <a:gd name="T20" fmla="*/ 9284 w 11102"/>
                <a:gd name="T21" fmla="*/ 5242 h 11149"/>
                <a:gd name="T22" fmla="*/ 4986 w 11102"/>
                <a:gd name="T23" fmla="*/ 4551 h 11149"/>
                <a:gd name="T24" fmla="*/ 5259 w 11102"/>
                <a:gd name="T25" fmla="*/ 3083 h 11149"/>
                <a:gd name="T26" fmla="*/ 4674 w 11102"/>
                <a:gd name="T27" fmla="*/ 3253 h 11149"/>
                <a:gd name="T28" fmla="*/ 5191 w 11102"/>
                <a:gd name="T29" fmla="*/ 3263 h 11149"/>
                <a:gd name="T30" fmla="*/ 10117 w 11102"/>
                <a:gd name="T31" fmla="*/ 10277 h 11149"/>
                <a:gd name="T32" fmla="*/ 7407 w 11102"/>
                <a:gd name="T33" fmla="*/ 10816 h 11149"/>
                <a:gd name="T34" fmla="*/ 6110 w 11102"/>
                <a:gd name="T35" fmla="*/ 8943 h 11149"/>
                <a:gd name="T36" fmla="*/ 4363 w 11102"/>
                <a:gd name="T37" fmla="*/ 7902 h 11149"/>
                <a:gd name="T38" fmla="*/ 2797 w 11102"/>
                <a:gd name="T39" fmla="*/ 7379 h 11149"/>
                <a:gd name="T40" fmla="*/ 1499 w 11102"/>
                <a:gd name="T41" fmla="*/ 5702 h 11149"/>
                <a:gd name="T42" fmla="*/ 233 w 11102"/>
                <a:gd name="T43" fmla="*/ 4255 h 11149"/>
                <a:gd name="T44" fmla="*/ 34 w 11102"/>
                <a:gd name="T45" fmla="*/ 2870 h 11149"/>
                <a:gd name="T46" fmla="*/ 590 w 11102"/>
                <a:gd name="T47" fmla="*/ 2294 h 11149"/>
                <a:gd name="T48" fmla="*/ 359 w 11102"/>
                <a:gd name="T49" fmla="*/ 3008 h 11149"/>
                <a:gd name="T50" fmla="*/ 649 w 11102"/>
                <a:gd name="T51" fmla="*/ 4047 h 11149"/>
                <a:gd name="T52" fmla="*/ 3312 w 11102"/>
                <a:gd name="T53" fmla="*/ 6293 h 11149"/>
                <a:gd name="T54" fmla="*/ 7156 w 11102"/>
                <a:gd name="T55" fmla="*/ 9507 h 11149"/>
                <a:gd name="T56" fmla="*/ 9564 w 11102"/>
                <a:gd name="T57" fmla="*/ 9599 h 11149"/>
                <a:gd name="T58" fmla="*/ 9080 w 11102"/>
                <a:gd name="T59" fmla="*/ 9163 h 11149"/>
                <a:gd name="T60" fmla="*/ 9164 w 11102"/>
                <a:gd name="T61" fmla="*/ 7943 h 11149"/>
                <a:gd name="T62" fmla="*/ 7601 w 11102"/>
                <a:gd name="T63" fmla="*/ 7291 h 11149"/>
                <a:gd name="T64" fmla="*/ 7010 w 11102"/>
                <a:gd name="T65" fmla="*/ 7297 h 11149"/>
                <a:gd name="T66" fmla="*/ 6784 w 11102"/>
                <a:gd name="T67" fmla="*/ 7593 h 11149"/>
                <a:gd name="T68" fmla="*/ 5819 w 11102"/>
                <a:gd name="T69" fmla="*/ 6268 h 11149"/>
                <a:gd name="T70" fmla="*/ 4334 w 11102"/>
                <a:gd name="T71" fmla="*/ 5381 h 11149"/>
                <a:gd name="T72" fmla="*/ 2352 w 11102"/>
                <a:gd name="T73" fmla="*/ 4043 h 11149"/>
                <a:gd name="T74" fmla="*/ 2413 w 11102"/>
                <a:gd name="T75" fmla="*/ 3437 h 11149"/>
                <a:gd name="T76" fmla="*/ 3750 w 11102"/>
                <a:gd name="T77" fmla="*/ 4164 h 11149"/>
                <a:gd name="T78" fmla="*/ 5424 w 11102"/>
                <a:gd name="T79" fmla="*/ 3943 h 11149"/>
                <a:gd name="T80" fmla="*/ 5114 w 11102"/>
                <a:gd name="T81" fmla="*/ 3743 h 11149"/>
                <a:gd name="T82" fmla="*/ 4157 w 11102"/>
                <a:gd name="T83" fmla="*/ 3429 h 11149"/>
                <a:gd name="T84" fmla="*/ 4316 w 11102"/>
                <a:gd name="T85" fmla="*/ 2277 h 11149"/>
                <a:gd name="T86" fmla="*/ 5535 w 11102"/>
                <a:gd name="T87" fmla="*/ 2159 h 11149"/>
                <a:gd name="T88" fmla="*/ 5906 w 11102"/>
                <a:gd name="T89" fmla="*/ 1956 h 11149"/>
                <a:gd name="T90" fmla="*/ 1797 w 11102"/>
                <a:gd name="T91" fmla="*/ 571 h 11149"/>
                <a:gd name="T92" fmla="*/ 1315 w 11102"/>
                <a:gd name="T93" fmla="*/ 1001 h 11149"/>
                <a:gd name="T94" fmla="*/ 1589 w 11102"/>
                <a:gd name="T95" fmla="*/ 1606 h 11149"/>
                <a:gd name="T96" fmla="*/ 957 w 11102"/>
                <a:gd name="T97" fmla="*/ 1618 h 11149"/>
                <a:gd name="T98" fmla="*/ 1053 w 11102"/>
                <a:gd name="T99" fmla="*/ 329 h 11149"/>
                <a:gd name="T100" fmla="*/ 6495 w 11102"/>
                <a:gd name="T101" fmla="*/ 1042 h 11149"/>
                <a:gd name="T102" fmla="*/ 6371 w 11102"/>
                <a:gd name="T103" fmla="*/ 2365 h 11149"/>
                <a:gd name="T104" fmla="*/ 5584 w 11102"/>
                <a:gd name="T105" fmla="*/ 2624 h 11149"/>
                <a:gd name="T106" fmla="*/ 4514 w 11102"/>
                <a:gd name="T107" fmla="*/ 2750 h 11149"/>
                <a:gd name="T108" fmla="*/ 4813 w 11102"/>
                <a:gd name="T109" fmla="*/ 2805 h 11149"/>
                <a:gd name="T110" fmla="*/ 5798 w 11102"/>
                <a:gd name="T111" fmla="*/ 2951 h 11149"/>
                <a:gd name="T112" fmla="*/ 6387 w 11102"/>
                <a:gd name="T113" fmla="*/ 3027 h 11149"/>
                <a:gd name="T114" fmla="*/ 10893 w 11102"/>
                <a:gd name="T115" fmla="*/ 4729 h 11149"/>
                <a:gd name="T116" fmla="*/ 10790 w 11102"/>
                <a:gd name="T117" fmla="*/ 5376 h 11149"/>
                <a:gd name="T118" fmla="*/ 10939 w 11102"/>
                <a:gd name="T119" fmla="*/ 6778 h 11149"/>
                <a:gd name="T120" fmla="*/ 10971 w 11102"/>
                <a:gd name="T121" fmla="*/ 8472 h 11149"/>
                <a:gd name="T122" fmla="*/ 10391 w 11102"/>
                <a:gd name="T123" fmla="*/ 9750 h 1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102" h="11149">
                  <a:moveTo>
                    <a:pt x="7715" y="5819"/>
                  </a:moveTo>
                  <a:lnTo>
                    <a:pt x="7680" y="5836"/>
                  </a:lnTo>
                  <a:lnTo>
                    <a:pt x="7645" y="5851"/>
                  </a:lnTo>
                  <a:lnTo>
                    <a:pt x="7611" y="5869"/>
                  </a:lnTo>
                  <a:lnTo>
                    <a:pt x="7578" y="5886"/>
                  </a:lnTo>
                  <a:lnTo>
                    <a:pt x="7545" y="5903"/>
                  </a:lnTo>
                  <a:lnTo>
                    <a:pt x="7513" y="5921"/>
                  </a:lnTo>
                  <a:lnTo>
                    <a:pt x="7483" y="5939"/>
                  </a:lnTo>
                  <a:lnTo>
                    <a:pt x="7452" y="5958"/>
                  </a:lnTo>
                  <a:lnTo>
                    <a:pt x="7421" y="5977"/>
                  </a:lnTo>
                  <a:lnTo>
                    <a:pt x="7391" y="5997"/>
                  </a:lnTo>
                  <a:lnTo>
                    <a:pt x="7362" y="6017"/>
                  </a:lnTo>
                  <a:lnTo>
                    <a:pt x="7334" y="6038"/>
                  </a:lnTo>
                  <a:lnTo>
                    <a:pt x="7306" y="6058"/>
                  </a:lnTo>
                  <a:lnTo>
                    <a:pt x="7278" y="6080"/>
                  </a:lnTo>
                  <a:lnTo>
                    <a:pt x="7251" y="6101"/>
                  </a:lnTo>
                  <a:lnTo>
                    <a:pt x="7224" y="6124"/>
                  </a:lnTo>
                  <a:lnTo>
                    <a:pt x="7197" y="6146"/>
                  </a:lnTo>
                  <a:lnTo>
                    <a:pt x="7171" y="6170"/>
                  </a:lnTo>
                  <a:lnTo>
                    <a:pt x="7146" y="6194"/>
                  </a:lnTo>
                  <a:lnTo>
                    <a:pt x="7121" y="6217"/>
                  </a:lnTo>
                  <a:lnTo>
                    <a:pt x="7096" y="6242"/>
                  </a:lnTo>
                  <a:lnTo>
                    <a:pt x="7072" y="6268"/>
                  </a:lnTo>
                  <a:lnTo>
                    <a:pt x="7047" y="6293"/>
                  </a:lnTo>
                  <a:lnTo>
                    <a:pt x="7024" y="6320"/>
                  </a:lnTo>
                  <a:lnTo>
                    <a:pt x="7000" y="6346"/>
                  </a:lnTo>
                  <a:lnTo>
                    <a:pt x="6977" y="6373"/>
                  </a:lnTo>
                  <a:lnTo>
                    <a:pt x="6954" y="6402"/>
                  </a:lnTo>
                  <a:lnTo>
                    <a:pt x="6931" y="6430"/>
                  </a:lnTo>
                  <a:lnTo>
                    <a:pt x="6909" y="6458"/>
                  </a:lnTo>
                  <a:lnTo>
                    <a:pt x="6887" y="6488"/>
                  </a:lnTo>
                  <a:lnTo>
                    <a:pt x="6864" y="6519"/>
                  </a:lnTo>
                  <a:lnTo>
                    <a:pt x="6843" y="6549"/>
                  </a:lnTo>
                  <a:lnTo>
                    <a:pt x="7616" y="6509"/>
                  </a:lnTo>
                  <a:lnTo>
                    <a:pt x="7621" y="6446"/>
                  </a:lnTo>
                  <a:lnTo>
                    <a:pt x="7627" y="6385"/>
                  </a:lnTo>
                  <a:lnTo>
                    <a:pt x="7634" y="6328"/>
                  </a:lnTo>
                  <a:lnTo>
                    <a:pt x="7640" y="6273"/>
                  </a:lnTo>
                  <a:lnTo>
                    <a:pt x="7646" y="6220"/>
                  </a:lnTo>
                  <a:lnTo>
                    <a:pt x="7653" y="6171"/>
                  </a:lnTo>
                  <a:lnTo>
                    <a:pt x="7659" y="6124"/>
                  </a:lnTo>
                  <a:lnTo>
                    <a:pt x="7666" y="6080"/>
                  </a:lnTo>
                  <a:lnTo>
                    <a:pt x="7673" y="6038"/>
                  </a:lnTo>
                  <a:lnTo>
                    <a:pt x="7680" y="5999"/>
                  </a:lnTo>
                  <a:lnTo>
                    <a:pt x="7686" y="5963"/>
                  </a:lnTo>
                  <a:lnTo>
                    <a:pt x="7692" y="5929"/>
                  </a:lnTo>
                  <a:lnTo>
                    <a:pt x="7698" y="5897"/>
                  </a:lnTo>
                  <a:lnTo>
                    <a:pt x="7704" y="5869"/>
                  </a:lnTo>
                  <a:lnTo>
                    <a:pt x="7710" y="5843"/>
                  </a:lnTo>
                  <a:lnTo>
                    <a:pt x="7715" y="5819"/>
                  </a:lnTo>
                  <a:close/>
                  <a:moveTo>
                    <a:pt x="10503" y="8576"/>
                  </a:moveTo>
                  <a:lnTo>
                    <a:pt x="10517" y="8541"/>
                  </a:lnTo>
                  <a:lnTo>
                    <a:pt x="10530" y="8506"/>
                  </a:lnTo>
                  <a:lnTo>
                    <a:pt x="10544" y="8471"/>
                  </a:lnTo>
                  <a:lnTo>
                    <a:pt x="10556" y="8436"/>
                  </a:lnTo>
                  <a:lnTo>
                    <a:pt x="10567" y="8401"/>
                  </a:lnTo>
                  <a:lnTo>
                    <a:pt x="10578" y="8365"/>
                  </a:lnTo>
                  <a:lnTo>
                    <a:pt x="10588" y="8329"/>
                  </a:lnTo>
                  <a:lnTo>
                    <a:pt x="10597" y="8292"/>
                  </a:lnTo>
                  <a:lnTo>
                    <a:pt x="10606" y="8255"/>
                  </a:lnTo>
                  <a:lnTo>
                    <a:pt x="10614" y="8218"/>
                  </a:lnTo>
                  <a:lnTo>
                    <a:pt x="10621" y="8180"/>
                  </a:lnTo>
                  <a:lnTo>
                    <a:pt x="10627" y="8141"/>
                  </a:lnTo>
                  <a:lnTo>
                    <a:pt x="10633" y="8101"/>
                  </a:lnTo>
                  <a:lnTo>
                    <a:pt x="10637" y="8061"/>
                  </a:lnTo>
                  <a:lnTo>
                    <a:pt x="10641" y="8019"/>
                  </a:lnTo>
                  <a:lnTo>
                    <a:pt x="10644" y="7977"/>
                  </a:lnTo>
                  <a:lnTo>
                    <a:pt x="9514" y="7913"/>
                  </a:lnTo>
                  <a:lnTo>
                    <a:pt x="9504" y="7971"/>
                  </a:lnTo>
                  <a:lnTo>
                    <a:pt x="9493" y="8030"/>
                  </a:lnTo>
                  <a:lnTo>
                    <a:pt x="9482" y="8086"/>
                  </a:lnTo>
                  <a:lnTo>
                    <a:pt x="9470" y="8142"/>
                  </a:lnTo>
                  <a:lnTo>
                    <a:pt x="9457" y="8197"/>
                  </a:lnTo>
                  <a:lnTo>
                    <a:pt x="9444" y="8251"/>
                  </a:lnTo>
                  <a:lnTo>
                    <a:pt x="9431" y="8303"/>
                  </a:lnTo>
                  <a:lnTo>
                    <a:pt x="9416" y="8355"/>
                  </a:lnTo>
                  <a:lnTo>
                    <a:pt x="9401" y="8406"/>
                  </a:lnTo>
                  <a:lnTo>
                    <a:pt x="9386" y="8455"/>
                  </a:lnTo>
                  <a:lnTo>
                    <a:pt x="9371" y="8503"/>
                  </a:lnTo>
                  <a:lnTo>
                    <a:pt x="9355" y="8551"/>
                  </a:lnTo>
                  <a:lnTo>
                    <a:pt x="9338" y="8598"/>
                  </a:lnTo>
                  <a:lnTo>
                    <a:pt x="9323" y="8643"/>
                  </a:lnTo>
                  <a:lnTo>
                    <a:pt x="9305" y="8687"/>
                  </a:lnTo>
                  <a:lnTo>
                    <a:pt x="9289" y="8729"/>
                  </a:lnTo>
                  <a:lnTo>
                    <a:pt x="10503" y="8576"/>
                  </a:lnTo>
                  <a:close/>
                  <a:moveTo>
                    <a:pt x="9280" y="5775"/>
                  </a:moveTo>
                  <a:lnTo>
                    <a:pt x="9308" y="5857"/>
                  </a:lnTo>
                  <a:lnTo>
                    <a:pt x="9336" y="5937"/>
                  </a:lnTo>
                  <a:lnTo>
                    <a:pt x="9363" y="6017"/>
                  </a:lnTo>
                  <a:lnTo>
                    <a:pt x="9386" y="6096"/>
                  </a:lnTo>
                  <a:lnTo>
                    <a:pt x="9409" y="6175"/>
                  </a:lnTo>
                  <a:lnTo>
                    <a:pt x="9430" y="6253"/>
                  </a:lnTo>
                  <a:lnTo>
                    <a:pt x="9449" y="6330"/>
                  </a:lnTo>
                  <a:lnTo>
                    <a:pt x="9466" y="6406"/>
                  </a:lnTo>
                  <a:lnTo>
                    <a:pt x="10131" y="6370"/>
                  </a:lnTo>
                  <a:lnTo>
                    <a:pt x="10088" y="6322"/>
                  </a:lnTo>
                  <a:lnTo>
                    <a:pt x="10043" y="6275"/>
                  </a:lnTo>
                  <a:lnTo>
                    <a:pt x="9996" y="6229"/>
                  </a:lnTo>
                  <a:lnTo>
                    <a:pt x="9948" y="6184"/>
                  </a:lnTo>
                  <a:lnTo>
                    <a:pt x="9899" y="6141"/>
                  </a:lnTo>
                  <a:lnTo>
                    <a:pt x="9848" y="6100"/>
                  </a:lnTo>
                  <a:lnTo>
                    <a:pt x="9797" y="6060"/>
                  </a:lnTo>
                  <a:lnTo>
                    <a:pt x="9744" y="6021"/>
                  </a:lnTo>
                  <a:lnTo>
                    <a:pt x="9689" y="5984"/>
                  </a:lnTo>
                  <a:lnTo>
                    <a:pt x="9634" y="5950"/>
                  </a:lnTo>
                  <a:lnTo>
                    <a:pt x="9577" y="5917"/>
                  </a:lnTo>
                  <a:lnTo>
                    <a:pt x="9520" y="5885"/>
                  </a:lnTo>
                  <a:lnTo>
                    <a:pt x="9461" y="5855"/>
                  </a:lnTo>
                  <a:lnTo>
                    <a:pt x="9402" y="5826"/>
                  </a:lnTo>
                  <a:lnTo>
                    <a:pt x="9341" y="5800"/>
                  </a:lnTo>
                  <a:lnTo>
                    <a:pt x="9280" y="5775"/>
                  </a:lnTo>
                  <a:close/>
                  <a:moveTo>
                    <a:pt x="8978" y="6434"/>
                  </a:moveTo>
                  <a:lnTo>
                    <a:pt x="8956" y="6362"/>
                  </a:lnTo>
                  <a:lnTo>
                    <a:pt x="8935" y="6292"/>
                  </a:lnTo>
                  <a:lnTo>
                    <a:pt x="8912" y="6226"/>
                  </a:lnTo>
                  <a:lnTo>
                    <a:pt x="8889" y="6163"/>
                  </a:lnTo>
                  <a:lnTo>
                    <a:pt x="8868" y="6102"/>
                  </a:lnTo>
                  <a:lnTo>
                    <a:pt x="8845" y="6044"/>
                  </a:lnTo>
                  <a:lnTo>
                    <a:pt x="8823" y="5990"/>
                  </a:lnTo>
                  <a:lnTo>
                    <a:pt x="8802" y="5938"/>
                  </a:lnTo>
                  <a:lnTo>
                    <a:pt x="8781" y="5890"/>
                  </a:lnTo>
                  <a:lnTo>
                    <a:pt x="8760" y="5845"/>
                  </a:lnTo>
                  <a:lnTo>
                    <a:pt x="8740" y="5803"/>
                  </a:lnTo>
                  <a:lnTo>
                    <a:pt x="8721" y="5764"/>
                  </a:lnTo>
                  <a:lnTo>
                    <a:pt x="8704" y="5728"/>
                  </a:lnTo>
                  <a:lnTo>
                    <a:pt x="8687" y="5695"/>
                  </a:lnTo>
                  <a:lnTo>
                    <a:pt x="8672" y="5666"/>
                  </a:lnTo>
                  <a:lnTo>
                    <a:pt x="8657" y="5640"/>
                  </a:lnTo>
                  <a:lnTo>
                    <a:pt x="8622" y="5639"/>
                  </a:lnTo>
                  <a:lnTo>
                    <a:pt x="8589" y="5638"/>
                  </a:lnTo>
                  <a:lnTo>
                    <a:pt x="8554" y="5637"/>
                  </a:lnTo>
                  <a:lnTo>
                    <a:pt x="8520" y="5637"/>
                  </a:lnTo>
                  <a:lnTo>
                    <a:pt x="8491" y="5637"/>
                  </a:lnTo>
                  <a:lnTo>
                    <a:pt x="8462" y="5638"/>
                  </a:lnTo>
                  <a:lnTo>
                    <a:pt x="8433" y="5640"/>
                  </a:lnTo>
                  <a:lnTo>
                    <a:pt x="8405" y="5643"/>
                  </a:lnTo>
                  <a:lnTo>
                    <a:pt x="8376" y="5645"/>
                  </a:lnTo>
                  <a:lnTo>
                    <a:pt x="8348" y="5648"/>
                  </a:lnTo>
                  <a:lnTo>
                    <a:pt x="8319" y="5651"/>
                  </a:lnTo>
                  <a:lnTo>
                    <a:pt x="8292" y="5654"/>
                  </a:lnTo>
                  <a:lnTo>
                    <a:pt x="8271" y="5706"/>
                  </a:lnTo>
                  <a:lnTo>
                    <a:pt x="8252" y="5758"/>
                  </a:lnTo>
                  <a:lnTo>
                    <a:pt x="8232" y="5809"/>
                  </a:lnTo>
                  <a:lnTo>
                    <a:pt x="8214" y="5860"/>
                  </a:lnTo>
                  <a:lnTo>
                    <a:pt x="8194" y="5913"/>
                  </a:lnTo>
                  <a:lnTo>
                    <a:pt x="8177" y="5964"/>
                  </a:lnTo>
                  <a:lnTo>
                    <a:pt x="8159" y="6016"/>
                  </a:lnTo>
                  <a:lnTo>
                    <a:pt x="8142" y="6069"/>
                  </a:lnTo>
                  <a:lnTo>
                    <a:pt x="8125" y="6120"/>
                  </a:lnTo>
                  <a:lnTo>
                    <a:pt x="8109" y="6172"/>
                  </a:lnTo>
                  <a:lnTo>
                    <a:pt x="8093" y="6224"/>
                  </a:lnTo>
                  <a:lnTo>
                    <a:pt x="8077" y="6277"/>
                  </a:lnTo>
                  <a:lnTo>
                    <a:pt x="8063" y="6329"/>
                  </a:lnTo>
                  <a:lnTo>
                    <a:pt x="8047" y="6381"/>
                  </a:lnTo>
                  <a:lnTo>
                    <a:pt x="8033" y="6434"/>
                  </a:lnTo>
                  <a:lnTo>
                    <a:pt x="8020" y="6487"/>
                  </a:lnTo>
                  <a:lnTo>
                    <a:pt x="8978" y="6434"/>
                  </a:lnTo>
                  <a:close/>
                  <a:moveTo>
                    <a:pt x="9532" y="6790"/>
                  </a:moveTo>
                  <a:lnTo>
                    <a:pt x="9538" y="6842"/>
                  </a:lnTo>
                  <a:lnTo>
                    <a:pt x="9544" y="6894"/>
                  </a:lnTo>
                  <a:lnTo>
                    <a:pt x="9549" y="6946"/>
                  </a:lnTo>
                  <a:lnTo>
                    <a:pt x="9553" y="6998"/>
                  </a:lnTo>
                  <a:lnTo>
                    <a:pt x="9556" y="7050"/>
                  </a:lnTo>
                  <a:lnTo>
                    <a:pt x="9559" y="7100"/>
                  </a:lnTo>
                  <a:lnTo>
                    <a:pt x="9561" y="7151"/>
                  </a:lnTo>
                  <a:lnTo>
                    <a:pt x="9563" y="7200"/>
                  </a:lnTo>
                  <a:lnTo>
                    <a:pt x="9563" y="7250"/>
                  </a:lnTo>
                  <a:lnTo>
                    <a:pt x="9564" y="7298"/>
                  </a:lnTo>
                  <a:lnTo>
                    <a:pt x="9563" y="7347"/>
                  </a:lnTo>
                  <a:lnTo>
                    <a:pt x="9562" y="7395"/>
                  </a:lnTo>
                  <a:lnTo>
                    <a:pt x="9561" y="7443"/>
                  </a:lnTo>
                  <a:lnTo>
                    <a:pt x="9559" y="7490"/>
                  </a:lnTo>
                  <a:lnTo>
                    <a:pt x="9556" y="7536"/>
                  </a:lnTo>
                  <a:lnTo>
                    <a:pt x="9553" y="7582"/>
                  </a:lnTo>
                  <a:lnTo>
                    <a:pt x="10641" y="7525"/>
                  </a:lnTo>
                  <a:lnTo>
                    <a:pt x="10635" y="7479"/>
                  </a:lnTo>
                  <a:lnTo>
                    <a:pt x="10628" y="7433"/>
                  </a:lnTo>
                  <a:lnTo>
                    <a:pt x="10621" y="7387"/>
                  </a:lnTo>
                  <a:lnTo>
                    <a:pt x="10611" y="7342"/>
                  </a:lnTo>
                  <a:lnTo>
                    <a:pt x="10602" y="7298"/>
                  </a:lnTo>
                  <a:lnTo>
                    <a:pt x="10592" y="7253"/>
                  </a:lnTo>
                  <a:lnTo>
                    <a:pt x="10581" y="7209"/>
                  </a:lnTo>
                  <a:lnTo>
                    <a:pt x="10568" y="7165"/>
                  </a:lnTo>
                  <a:lnTo>
                    <a:pt x="10555" y="7123"/>
                  </a:lnTo>
                  <a:lnTo>
                    <a:pt x="10541" y="7080"/>
                  </a:lnTo>
                  <a:lnTo>
                    <a:pt x="10525" y="7037"/>
                  </a:lnTo>
                  <a:lnTo>
                    <a:pt x="10510" y="6995"/>
                  </a:lnTo>
                  <a:lnTo>
                    <a:pt x="10492" y="6954"/>
                  </a:lnTo>
                  <a:lnTo>
                    <a:pt x="10475" y="6912"/>
                  </a:lnTo>
                  <a:lnTo>
                    <a:pt x="10456" y="6872"/>
                  </a:lnTo>
                  <a:lnTo>
                    <a:pt x="10437" y="6831"/>
                  </a:lnTo>
                  <a:lnTo>
                    <a:pt x="9532" y="6790"/>
                  </a:lnTo>
                  <a:close/>
                  <a:moveTo>
                    <a:pt x="9163" y="7603"/>
                  </a:moveTo>
                  <a:lnTo>
                    <a:pt x="9160" y="7545"/>
                  </a:lnTo>
                  <a:lnTo>
                    <a:pt x="9157" y="7488"/>
                  </a:lnTo>
                  <a:lnTo>
                    <a:pt x="9153" y="7433"/>
                  </a:lnTo>
                  <a:lnTo>
                    <a:pt x="9149" y="7376"/>
                  </a:lnTo>
                  <a:lnTo>
                    <a:pt x="9145" y="7322"/>
                  </a:lnTo>
                  <a:lnTo>
                    <a:pt x="9139" y="7267"/>
                  </a:lnTo>
                  <a:lnTo>
                    <a:pt x="9134" y="7214"/>
                  </a:lnTo>
                  <a:lnTo>
                    <a:pt x="9128" y="7162"/>
                  </a:lnTo>
                  <a:lnTo>
                    <a:pt x="9120" y="7110"/>
                  </a:lnTo>
                  <a:lnTo>
                    <a:pt x="9113" y="7059"/>
                  </a:lnTo>
                  <a:lnTo>
                    <a:pt x="9105" y="7008"/>
                  </a:lnTo>
                  <a:lnTo>
                    <a:pt x="9097" y="6959"/>
                  </a:lnTo>
                  <a:lnTo>
                    <a:pt x="9089" y="6910"/>
                  </a:lnTo>
                  <a:lnTo>
                    <a:pt x="9080" y="6861"/>
                  </a:lnTo>
                  <a:lnTo>
                    <a:pt x="9070" y="6814"/>
                  </a:lnTo>
                  <a:lnTo>
                    <a:pt x="9061" y="6767"/>
                  </a:lnTo>
                  <a:lnTo>
                    <a:pt x="7963" y="6718"/>
                  </a:lnTo>
                  <a:lnTo>
                    <a:pt x="7950" y="6780"/>
                  </a:lnTo>
                  <a:lnTo>
                    <a:pt x="7936" y="6843"/>
                  </a:lnTo>
                  <a:lnTo>
                    <a:pt x="7923" y="6904"/>
                  </a:lnTo>
                  <a:lnTo>
                    <a:pt x="7912" y="6966"/>
                  </a:lnTo>
                  <a:lnTo>
                    <a:pt x="7901" y="7027"/>
                  </a:lnTo>
                  <a:lnTo>
                    <a:pt x="7889" y="7089"/>
                  </a:lnTo>
                  <a:lnTo>
                    <a:pt x="7879" y="7150"/>
                  </a:lnTo>
                  <a:lnTo>
                    <a:pt x="7870" y="7210"/>
                  </a:lnTo>
                  <a:lnTo>
                    <a:pt x="7860" y="7270"/>
                  </a:lnTo>
                  <a:lnTo>
                    <a:pt x="7852" y="7329"/>
                  </a:lnTo>
                  <a:lnTo>
                    <a:pt x="7844" y="7389"/>
                  </a:lnTo>
                  <a:lnTo>
                    <a:pt x="7837" y="7446"/>
                  </a:lnTo>
                  <a:lnTo>
                    <a:pt x="7831" y="7504"/>
                  </a:lnTo>
                  <a:lnTo>
                    <a:pt x="7825" y="7562"/>
                  </a:lnTo>
                  <a:lnTo>
                    <a:pt x="7819" y="7618"/>
                  </a:lnTo>
                  <a:lnTo>
                    <a:pt x="7815" y="7674"/>
                  </a:lnTo>
                  <a:lnTo>
                    <a:pt x="9163" y="7603"/>
                  </a:lnTo>
                  <a:close/>
                  <a:moveTo>
                    <a:pt x="9332" y="5257"/>
                  </a:moveTo>
                  <a:lnTo>
                    <a:pt x="9460" y="5077"/>
                  </a:lnTo>
                  <a:lnTo>
                    <a:pt x="9261" y="4811"/>
                  </a:lnTo>
                  <a:lnTo>
                    <a:pt x="9294" y="4753"/>
                  </a:lnTo>
                  <a:lnTo>
                    <a:pt x="9855" y="5054"/>
                  </a:lnTo>
                  <a:lnTo>
                    <a:pt x="9732" y="5424"/>
                  </a:lnTo>
                  <a:lnTo>
                    <a:pt x="9765" y="5441"/>
                  </a:lnTo>
                  <a:lnTo>
                    <a:pt x="9799" y="5459"/>
                  </a:lnTo>
                  <a:lnTo>
                    <a:pt x="9832" y="5479"/>
                  </a:lnTo>
                  <a:lnTo>
                    <a:pt x="9867" y="5498"/>
                  </a:lnTo>
                  <a:lnTo>
                    <a:pt x="9902" y="5521"/>
                  </a:lnTo>
                  <a:lnTo>
                    <a:pt x="9938" y="5544"/>
                  </a:lnTo>
                  <a:lnTo>
                    <a:pt x="9976" y="5569"/>
                  </a:lnTo>
                  <a:lnTo>
                    <a:pt x="10017" y="5596"/>
                  </a:lnTo>
                  <a:lnTo>
                    <a:pt x="10378" y="5001"/>
                  </a:lnTo>
                  <a:lnTo>
                    <a:pt x="9441" y="4512"/>
                  </a:lnTo>
                  <a:lnTo>
                    <a:pt x="7370" y="4512"/>
                  </a:lnTo>
                  <a:lnTo>
                    <a:pt x="5688" y="5522"/>
                  </a:lnTo>
                  <a:lnTo>
                    <a:pt x="5747" y="5564"/>
                  </a:lnTo>
                  <a:lnTo>
                    <a:pt x="5805" y="5606"/>
                  </a:lnTo>
                  <a:lnTo>
                    <a:pt x="5862" y="5648"/>
                  </a:lnTo>
                  <a:lnTo>
                    <a:pt x="5919" y="5690"/>
                  </a:lnTo>
                  <a:lnTo>
                    <a:pt x="5974" y="5733"/>
                  </a:lnTo>
                  <a:lnTo>
                    <a:pt x="6030" y="5776"/>
                  </a:lnTo>
                  <a:lnTo>
                    <a:pt x="6083" y="5819"/>
                  </a:lnTo>
                  <a:lnTo>
                    <a:pt x="6135" y="5862"/>
                  </a:lnTo>
                  <a:lnTo>
                    <a:pt x="6186" y="5906"/>
                  </a:lnTo>
                  <a:lnTo>
                    <a:pt x="6236" y="5951"/>
                  </a:lnTo>
                  <a:lnTo>
                    <a:pt x="6284" y="5995"/>
                  </a:lnTo>
                  <a:lnTo>
                    <a:pt x="6330" y="6039"/>
                  </a:lnTo>
                  <a:lnTo>
                    <a:pt x="6376" y="6083"/>
                  </a:lnTo>
                  <a:lnTo>
                    <a:pt x="6420" y="6128"/>
                  </a:lnTo>
                  <a:lnTo>
                    <a:pt x="6461" y="6172"/>
                  </a:lnTo>
                  <a:lnTo>
                    <a:pt x="6501" y="6216"/>
                  </a:lnTo>
                  <a:lnTo>
                    <a:pt x="6544" y="6156"/>
                  </a:lnTo>
                  <a:lnTo>
                    <a:pt x="6589" y="6097"/>
                  </a:lnTo>
                  <a:lnTo>
                    <a:pt x="6636" y="6039"/>
                  </a:lnTo>
                  <a:lnTo>
                    <a:pt x="6685" y="5982"/>
                  </a:lnTo>
                  <a:lnTo>
                    <a:pt x="6735" y="5928"/>
                  </a:lnTo>
                  <a:lnTo>
                    <a:pt x="6787" y="5875"/>
                  </a:lnTo>
                  <a:lnTo>
                    <a:pt x="6842" y="5823"/>
                  </a:lnTo>
                  <a:lnTo>
                    <a:pt x="6897" y="5773"/>
                  </a:lnTo>
                  <a:lnTo>
                    <a:pt x="6954" y="5725"/>
                  </a:lnTo>
                  <a:lnTo>
                    <a:pt x="7012" y="5678"/>
                  </a:lnTo>
                  <a:lnTo>
                    <a:pt x="7072" y="5634"/>
                  </a:lnTo>
                  <a:lnTo>
                    <a:pt x="7132" y="5590"/>
                  </a:lnTo>
                  <a:lnTo>
                    <a:pt x="7195" y="5549"/>
                  </a:lnTo>
                  <a:lnTo>
                    <a:pt x="7259" y="5509"/>
                  </a:lnTo>
                  <a:lnTo>
                    <a:pt x="7322" y="5471"/>
                  </a:lnTo>
                  <a:lnTo>
                    <a:pt x="7389" y="5435"/>
                  </a:lnTo>
                  <a:lnTo>
                    <a:pt x="7455" y="5401"/>
                  </a:lnTo>
                  <a:lnTo>
                    <a:pt x="7523" y="5369"/>
                  </a:lnTo>
                  <a:lnTo>
                    <a:pt x="7590" y="5339"/>
                  </a:lnTo>
                  <a:lnTo>
                    <a:pt x="7660" y="5312"/>
                  </a:lnTo>
                  <a:lnTo>
                    <a:pt x="7729" y="5285"/>
                  </a:lnTo>
                  <a:lnTo>
                    <a:pt x="7800" y="5261"/>
                  </a:lnTo>
                  <a:lnTo>
                    <a:pt x="7871" y="5240"/>
                  </a:lnTo>
                  <a:lnTo>
                    <a:pt x="7943" y="5219"/>
                  </a:lnTo>
                  <a:lnTo>
                    <a:pt x="8014" y="5202"/>
                  </a:lnTo>
                  <a:lnTo>
                    <a:pt x="8087" y="5188"/>
                  </a:lnTo>
                  <a:lnTo>
                    <a:pt x="8159" y="5174"/>
                  </a:lnTo>
                  <a:lnTo>
                    <a:pt x="8233" y="5164"/>
                  </a:lnTo>
                  <a:lnTo>
                    <a:pt x="8306" y="5155"/>
                  </a:lnTo>
                  <a:lnTo>
                    <a:pt x="8380" y="5150"/>
                  </a:lnTo>
                  <a:lnTo>
                    <a:pt x="8453" y="5145"/>
                  </a:lnTo>
                  <a:lnTo>
                    <a:pt x="8527" y="5144"/>
                  </a:lnTo>
                  <a:lnTo>
                    <a:pt x="8575" y="5144"/>
                  </a:lnTo>
                  <a:lnTo>
                    <a:pt x="8624" y="5145"/>
                  </a:lnTo>
                  <a:lnTo>
                    <a:pt x="8675" y="5148"/>
                  </a:lnTo>
                  <a:lnTo>
                    <a:pt x="8725" y="5150"/>
                  </a:lnTo>
                  <a:lnTo>
                    <a:pt x="8776" y="5154"/>
                  </a:lnTo>
                  <a:lnTo>
                    <a:pt x="8828" y="5158"/>
                  </a:lnTo>
                  <a:lnTo>
                    <a:pt x="8879" y="5163"/>
                  </a:lnTo>
                  <a:lnTo>
                    <a:pt x="8931" y="5168"/>
                  </a:lnTo>
                  <a:lnTo>
                    <a:pt x="8983" y="5176"/>
                  </a:lnTo>
                  <a:lnTo>
                    <a:pt x="9034" y="5183"/>
                  </a:lnTo>
                  <a:lnTo>
                    <a:pt x="9086" y="5194"/>
                  </a:lnTo>
                  <a:lnTo>
                    <a:pt x="9136" y="5203"/>
                  </a:lnTo>
                  <a:lnTo>
                    <a:pt x="9186" y="5215"/>
                  </a:lnTo>
                  <a:lnTo>
                    <a:pt x="9235" y="5228"/>
                  </a:lnTo>
                  <a:lnTo>
                    <a:pt x="9284" y="5242"/>
                  </a:lnTo>
                  <a:lnTo>
                    <a:pt x="9332" y="5257"/>
                  </a:lnTo>
                  <a:close/>
                  <a:moveTo>
                    <a:pt x="5185" y="5198"/>
                  </a:moveTo>
                  <a:lnTo>
                    <a:pt x="6114" y="4642"/>
                  </a:lnTo>
                  <a:lnTo>
                    <a:pt x="6080" y="4625"/>
                  </a:lnTo>
                  <a:lnTo>
                    <a:pt x="6045" y="4610"/>
                  </a:lnTo>
                  <a:lnTo>
                    <a:pt x="6009" y="4595"/>
                  </a:lnTo>
                  <a:lnTo>
                    <a:pt x="5974" y="4581"/>
                  </a:lnTo>
                  <a:lnTo>
                    <a:pt x="5937" y="4568"/>
                  </a:lnTo>
                  <a:lnTo>
                    <a:pt x="5900" y="4556"/>
                  </a:lnTo>
                  <a:lnTo>
                    <a:pt x="5862" y="4544"/>
                  </a:lnTo>
                  <a:lnTo>
                    <a:pt x="5824" y="4534"/>
                  </a:lnTo>
                  <a:lnTo>
                    <a:pt x="5785" y="4525"/>
                  </a:lnTo>
                  <a:lnTo>
                    <a:pt x="5745" y="4517"/>
                  </a:lnTo>
                  <a:lnTo>
                    <a:pt x="5705" y="4510"/>
                  </a:lnTo>
                  <a:lnTo>
                    <a:pt x="5664" y="4503"/>
                  </a:lnTo>
                  <a:lnTo>
                    <a:pt x="5622" y="4498"/>
                  </a:lnTo>
                  <a:lnTo>
                    <a:pt x="5579" y="4495"/>
                  </a:lnTo>
                  <a:lnTo>
                    <a:pt x="5536" y="4492"/>
                  </a:lnTo>
                  <a:lnTo>
                    <a:pt x="5491" y="4491"/>
                  </a:lnTo>
                  <a:lnTo>
                    <a:pt x="5461" y="4491"/>
                  </a:lnTo>
                  <a:lnTo>
                    <a:pt x="5429" y="4492"/>
                  </a:lnTo>
                  <a:lnTo>
                    <a:pt x="5396" y="4494"/>
                  </a:lnTo>
                  <a:lnTo>
                    <a:pt x="5362" y="4496"/>
                  </a:lnTo>
                  <a:lnTo>
                    <a:pt x="5291" y="4502"/>
                  </a:lnTo>
                  <a:lnTo>
                    <a:pt x="5218" y="4512"/>
                  </a:lnTo>
                  <a:lnTo>
                    <a:pt x="5142" y="4523"/>
                  </a:lnTo>
                  <a:lnTo>
                    <a:pt x="5064" y="4536"/>
                  </a:lnTo>
                  <a:lnTo>
                    <a:pt x="4986" y="4551"/>
                  </a:lnTo>
                  <a:lnTo>
                    <a:pt x="4908" y="4565"/>
                  </a:lnTo>
                  <a:lnTo>
                    <a:pt x="4831" y="4581"/>
                  </a:lnTo>
                  <a:lnTo>
                    <a:pt x="4755" y="4597"/>
                  </a:lnTo>
                  <a:lnTo>
                    <a:pt x="4681" y="4612"/>
                  </a:lnTo>
                  <a:lnTo>
                    <a:pt x="4610" y="4628"/>
                  </a:lnTo>
                  <a:lnTo>
                    <a:pt x="4543" y="4641"/>
                  </a:lnTo>
                  <a:lnTo>
                    <a:pt x="4480" y="4654"/>
                  </a:lnTo>
                  <a:lnTo>
                    <a:pt x="4422" y="4664"/>
                  </a:lnTo>
                  <a:lnTo>
                    <a:pt x="4370" y="4673"/>
                  </a:lnTo>
                  <a:lnTo>
                    <a:pt x="4395" y="4690"/>
                  </a:lnTo>
                  <a:lnTo>
                    <a:pt x="4427" y="4712"/>
                  </a:lnTo>
                  <a:lnTo>
                    <a:pt x="4464" y="4736"/>
                  </a:lnTo>
                  <a:lnTo>
                    <a:pt x="4507" y="4764"/>
                  </a:lnTo>
                  <a:lnTo>
                    <a:pt x="4553" y="4794"/>
                  </a:lnTo>
                  <a:lnTo>
                    <a:pt x="4604" y="4827"/>
                  </a:lnTo>
                  <a:lnTo>
                    <a:pt x="4659" y="4861"/>
                  </a:lnTo>
                  <a:lnTo>
                    <a:pt x="4715" y="4898"/>
                  </a:lnTo>
                  <a:lnTo>
                    <a:pt x="4774" y="4935"/>
                  </a:lnTo>
                  <a:lnTo>
                    <a:pt x="4833" y="4974"/>
                  </a:lnTo>
                  <a:lnTo>
                    <a:pt x="4894" y="5013"/>
                  </a:lnTo>
                  <a:lnTo>
                    <a:pt x="4954" y="5051"/>
                  </a:lnTo>
                  <a:lnTo>
                    <a:pt x="5015" y="5090"/>
                  </a:lnTo>
                  <a:lnTo>
                    <a:pt x="5074" y="5127"/>
                  </a:lnTo>
                  <a:lnTo>
                    <a:pt x="5131" y="5163"/>
                  </a:lnTo>
                  <a:lnTo>
                    <a:pt x="5185" y="5198"/>
                  </a:lnTo>
                  <a:close/>
                  <a:moveTo>
                    <a:pt x="5376" y="3104"/>
                  </a:moveTo>
                  <a:lnTo>
                    <a:pt x="5316" y="3093"/>
                  </a:lnTo>
                  <a:lnTo>
                    <a:pt x="5259" y="3083"/>
                  </a:lnTo>
                  <a:lnTo>
                    <a:pt x="5232" y="3080"/>
                  </a:lnTo>
                  <a:lnTo>
                    <a:pt x="5205" y="3077"/>
                  </a:lnTo>
                  <a:lnTo>
                    <a:pt x="5179" y="3075"/>
                  </a:lnTo>
                  <a:lnTo>
                    <a:pt x="5154" y="3073"/>
                  </a:lnTo>
                  <a:lnTo>
                    <a:pt x="5129" y="3072"/>
                  </a:lnTo>
                  <a:lnTo>
                    <a:pt x="5105" y="3072"/>
                  </a:lnTo>
                  <a:lnTo>
                    <a:pt x="5082" y="3072"/>
                  </a:lnTo>
                  <a:lnTo>
                    <a:pt x="5059" y="3073"/>
                  </a:lnTo>
                  <a:lnTo>
                    <a:pt x="5037" y="3075"/>
                  </a:lnTo>
                  <a:lnTo>
                    <a:pt x="5015" y="3078"/>
                  </a:lnTo>
                  <a:lnTo>
                    <a:pt x="4993" y="3081"/>
                  </a:lnTo>
                  <a:lnTo>
                    <a:pt x="4972" y="3085"/>
                  </a:lnTo>
                  <a:lnTo>
                    <a:pt x="4951" y="3090"/>
                  </a:lnTo>
                  <a:lnTo>
                    <a:pt x="4931" y="3095"/>
                  </a:lnTo>
                  <a:lnTo>
                    <a:pt x="4911" y="3101"/>
                  </a:lnTo>
                  <a:lnTo>
                    <a:pt x="4892" y="3109"/>
                  </a:lnTo>
                  <a:lnTo>
                    <a:pt x="4872" y="3117"/>
                  </a:lnTo>
                  <a:lnTo>
                    <a:pt x="4854" y="3125"/>
                  </a:lnTo>
                  <a:lnTo>
                    <a:pt x="4835" y="3134"/>
                  </a:lnTo>
                  <a:lnTo>
                    <a:pt x="4817" y="3144"/>
                  </a:lnTo>
                  <a:lnTo>
                    <a:pt x="4798" y="3155"/>
                  </a:lnTo>
                  <a:lnTo>
                    <a:pt x="4780" y="3167"/>
                  </a:lnTo>
                  <a:lnTo>
                    <a:pt x="4762" y="3179"/>
                  </a:lnTo>
                  <a:lnTo>
                    <a:pt x="4745" y="3193"/>
                  </a:lnTo>
                  <a:lnTo>
                    <a:pt x="4726" y="3207"/>
                  </a:lnTo>
                  <a:lnTo>
                    <a:pt x="4709" y="3221"/>
                  </a:lnTo>
                  <a:lnTo>
                    <a:pt x="4692" y="3238"/>
                  </a:lnTo>
                  <a:lnTo>
                    <a:pt x="4674" y="3253"/>
                  </a:lnTo>
                  <a:lnTo>
                    <a:pt x="4690" y="3261"/>
                  </a:lnTo>
                  <a:lnTo>
                    <a:pt x="4709" y="3270"/>
                  </a:lnTo>
                  <a:lnTo>
                    <a:pt x="4727" y="3277"/>
                  </a:lnTo>
                  <a:lnTo>
                    <a:pt x="4747" y="3283"/>
                  </a:lnTo>
                  <a:lnTo>
                    <a:pt x="4766" y="3289"/>
                  </a:lnTo>
                  <a:lnTo>
                    <a:pt x="4787" y="3294"/>
                  </a:lnTo>
                  <a:lnTo>
                    <a:pt x="4808" y="3299"/>
                  </a:lnTo>
                  <a:lnTo>
                    <a:pt x="4829" y="3303"/>
                  </a:lnTo>
                  <a:lnTo>
                    <a:pt x="4850" y="3308"/>
                  </a:lnTo>
                  <a:lnTo>
                    <a:pt x="4872" y="3310"/>
                  </a:lnTo>
                  <a:lnTo>
                    <a:pt x="4894" y="3313"/>
                  </a:lnTo>
                  <a:lnTo>
                    <a:pt x="4916" y="3314"/>
                  </a:lnTo>
                  <a:lnTo>
                    <a:pt x="4940" y="3315"/>
                  </a:lnTo>
                  <a:lnTo>
                    <a:pt x="4963" y="3315"/>
                  </a:lnTo>
                  <a:lnTo>
                    <a:pt x="4986" y="3315"/>
                  </a:lnTo>
                  <a:lnTo>
                    <a:pt x="5011" y="3313"/>
                  </a:lnTo>
                  <a:lnTo>
                    <a:pt x="5027" y="3312"/>
                  </a:lnTo>
                  <a:lnTo>
                    <a:pt x="5045" y="3310"/>
                  </a:lnTo>
                  <a:lnTo>
                    <a:pt x="5061" y="3307"/>
                  </a:lnTo>
                  <a:lnTo>
                    <a:pt x="5077" y="3303"/>
                  </a:lnTo>
                  <a:lnTo>
                    <a:pt x="5092" y="3300"/>
                  </a:lnTo>
                  <a:lnTo>
                    <a:pt x="5107" y="3296"/>
                  </a:lnTo>
                  <a:lnTo>
                    <a:pt x="5122" y="3292"/>
                  </a:lnTo>
                  <a:lnTo>
                    <a:pt x="5136" y="3287"/>
                  </a:lnTo>
                  <a:lnTo>
                    <a:pt x="5151" y="3282"/>
                  </a:lnTo>
                  <a:lnTo>
                    <a:pt x="5164" y="3276"/>
                  </a:lnTo>
                  <a:lnTo>
                    <a:pt x="5177" y="3271"/>
                  </a:lnTo>
                  <a:lnTo>
                    <a:pt x="5191" y="3263"/>
                  </a:lnTo>
                  <a:lnTo>
                    <a:pt x="5215" y="3250"/>
                  </a:lnTo>
                  <a:lnTo>
                    <a:pt x="5238" y="3236"/>
                  </a:lnTo>
                  <a:lnTo>
                    <a:pt x="5259" y="3220"/>
                  </a:lnTo>
                  <a:lnTo>
                    <a:pt x="5280" y="3205"/>
                  </a:lnTo>
                  <a:lnTo>
                    <a:pt x="5299" y="3189"/>
                  </a:lnTo>
                  <a:lnTo>
                    <a:pt x="5317" y="3171"/>
                  </a:lnTo>
                  <a:lnTo>
                    <a:pt x="5333" y="3155"/>
                  </a:lnTo>
                  <a:lnTo>
                    <a:pt x="5349" y="3137"/>
                  </a:lnTo>
                  <a:lnTo>
                    <a:pt x="5363" y="3121"/>
                  </a:lnTo>
                  <a:lnTo>
                    <a:pt x="5376" y="3104"/>
                  </a:lnTo>
                  <a:close/>
                  <a:moveTo>
                    <a:pt x="10607" y="10929"/>
                  </a:moveTo>
                  <a:lnTo>
                    <a:pt x="10490" y="10929"/>
                  </a:lnTo>
                  <a:lnTo>
                    <a:pt x="10488" y="10871"/>
                  </a:lnTo>
                  <a:lnTo>
                    <a:pt x="10483" y="10813"/>
                  </a:lnTo>
                  <a:lnTo>
                    <a:pt x="10475" y="10760"/>
                  </a:lnTo>
                  <a:lnTo>
                    <a:pt x="10464" y="10708"/>
                  </a:lnTo>
                  <a:lnTo>
                    <a:pt x="10448" y="10660"/>
                  </a:lnTo>
                  <a:lnTo>
                    <a:pt x="10431" y="10614"/>
                  </a:lnTo>
                  <a:lnTo>
                    <a:pt x="10410" y="10570"/>
                  </a:lnTo>
                  <a:lnTo>
                    <a:pt x="10388" y="10529"/>
                  </a:lnTo>
                  <a:lnTo>
                    <a:pt x="10362" y="10490"/>
                  </a:lnTo>
                  <a:lnTo>
                    <a:pt x="10333" y="10453"/>
                  </a:lnTo>
                  <a:lnTo>
                    <a:pt x="10302" y="10418"/>
                  </a:lnTo>
                  <a:lnTo>
                    <a:pt x="10270" y="10385"/>
                  </a:lnTo>
                  <a:lnTo>
                    <a:pt x="10235" y="10356"/>
                  </a:lnTo>
                  <a:lnTo>
                    <a:pt x="10198" y="10327"/>
                  </a:lnTo>
                  <a:lnTo>
                    <a:pt x="10158" y="10301"/>
                  </a:lnTo>
                  <a:lnTo>
                    <a:pt x="10117" y="10277"/>
                  </a:lnTo>
                  <a:lnTo>
                    <a:pt x="10073" y="10254"/>
                  </a:lnTo>
                  <a:lnTo>
                    <a:pt x="10028" y="10234"/>
                  </a:lnTo>
                  <a:lnTo>
                    <a:pt x="9982" y="10215"/>
                  </a:lnTo>
                  <a:lnTo>
                    <a:pt x="9934" y="10198"/>
                  </a:lnTo>
                  <a:lnTo>
                    <a:pt x="9884" y="10182"/>
                  </a:lnTo>
                  <a:lnTo>
                    <a:pt x="9833" y="10169"/>
                  </a:lnTo>
                  <a:lnTo>
                    <a:pt x="9782" y="10157"/>
                  </a:lnTo>
                  <a:lnTo>
                    <a:pt x="9728" y="10145"/>
                  </a:lnTo>
                  <a:lnTo>
                    <a:pt x="9675" y="10136"/>
                  </a:lnTo>
                  <a:lnTo>
                    <a:pt x="9620" y="10129"/>
                  </a:lnTo>
                  <a:lnTo>
                    <a:pt x="9564" y="10122"/>
                  </a:lnTo>
                  <a:lnTo>
                    <a:pt x="9508" y="10117"/>
                  </a:lnTo>
                  <a:lnTo>
                    <a:pt x="9451" y="10113"/>
                  </a:lnTo>
                  <a:lnTo>
                    <a:pt x="9394" y="10111"/>
                  </a:lnTo>
                  <a:lnTo>
                    <a:pt x="9336" y="10108"/>
                  </a:lnTo>
                  <a:lnTo>
                    <a:pt x="9278" y="10107"/>
                  </a:lnTo>
                  <a:lnTo>
                    <a:pt x="7340" y="10107"/>
                  </a:lnTo>
                  <a:lnTo>
                    <a:pt x="7351" y="10168"/>
                  </a:lnTo>
                  <a:lnTo>
                    <a:pt x="7361" y="10229"/>
                  </a:lnTo>
                  <a:lnTo>
                    <a:pt x="7371" y="10292"/>
                  </a:lnTo>
                  <a:lnTo>
                    <a:pt x="7380" y="10356"/>
                  </a:lnTo>
                  <a:lnTo>
                    <a:pt x="7387" y="10420"/>
                  </a:lnTo>
                  <a:lnTo>
                    <a:pt x="7393" y="10485"/>
                  </a:lnTo>
                  <a:lnTo>
                    <a:pt x="7398" y="10551"/>
                  </a:lnTo>
                  <a:lnTo>
                    <a:pt x="7402" y="10616"/>
                  </a:lnTo>
                  <a:lnTo>
                    <a:pt x="7406" y="10683"/>
                  </a:lnTo>
                  <a:lnTo>
                    <a:pt x="7407" y="10749"/>
                  </a:lnTo>
                  <a:lnTo>
                    <a:pt x="7407" y="10816"/>
                  </a:lnTo>
                  <a:lnTo>
                    <a:pt x="7406" y="10884"/>
                  </a:lnTo>
                  <a:lnTo>
                    <a:pt x="7401" y="10951"/>
                  </a:lnTo>
                  <a:lnTo>
                    <a:pt x="7397" y="11017"/>
                  </a:lnTo>
                  <a:lnTo>
                    <a:pt x="7391" y="11084"/>
                  </a:lnTo>
                  <a:lnTo>
                    <a:pt x="7383" y="11149"/>
                  </a:lnTo>
                  <a:lnTo>
                    <a:pt x="7286" y="11149"/>
                  </a:lnTo>
                  <a:lnTo>
                    <a:pt x="7268" y="11016"/>
                  </a:lnTo>
                  <a:lnTo>
                    <a:pt x="7245" y="10887"/>
                  </a:lnTo>
                  <a:lnTo>
                    <a:pt x="7219" y="10761"/>
                  </a:lnTo>
                  <a:lnTo>
                    <a:pt x="7190" y="10639"/>
                  </a:lnTo>
                  <a:lnTo>
                    <a:pt x="7156" y="10521"/>
                  </a:lnTo>
                  <a:lnTo>
                    <a:pt x="7120" y="10407"/>
                  </a:lnTo>
                  <a:lnTo>
                    <a:pt x="7080" y="10295"/>
                  </a:lnTo>
                  <a:lnTo>
                    <a:pt x="7037" y="10187"/>
                  </a:lnTo>
                  <a:lnTo>
                    <a:pt x="6990" y="10083"/>
                  </a:lnTo>
                  <a:lnTo>
                    <a:pt x="6939" y="9981"/>
                  </a:lnTo>
                  <a:lnTo>
                    <a:pt x="6887" y="9883"/>
                  </a:lnTo>
                  <a:lnTo>
                    <a:pt x="6831" y="9786"/>
                  </a:lnTo>
                  <a:lnTo>
                    <a:pt x="6771" y="9693"/>
                  </a:lnTo>
                  <a:lnTo>
                    <a:pt x="6709" y="9602"/>
                  </a:lnTo>
                  <a:lnTo>
                    <a:pt x="6644" y="9514"/>
                  </a:lnTo>
                  <a:lnTo>
                    <a:pt x="6576" y="9426"/>
                  </a:lnTo>
                  <a:lnTo>
                    <a:pt x="6505" y="9342"/>
                  </a:lnTo>
                  <a:lnTo>
                    <a:pt x="6431" y="9259"/>
                  </a:lnTo>
                  <a:lnTo>
                    <a:pt x="6354" y="9178"/>
                  </a:lnTo>
                  <a:lnTo>
                    <a:pt x="6276" y="9098"/>
                  </a:lnTo>
                  <a:lnTo>
                    <a:pt x="6194" y="9020"/>
                  </a:lnTo>
                  <a:lnTo>
                    <a:pt x="6110" y="8943"/>
                  </a:lnTo>
                  <a:lnTo>
                    <a:pt x="6022" y="8868"/>
                  </a:lnTo>
                  <a:lnTo>
                    <a:pt x="5934" y="8793"/>
                  </a:lnTo>
                  <a:lnTo>
                    <a:pt x="5843" y="8720"/>
                  </a:lnTo>
                  <a:lnTo>
                    <a:pt x="5748" y="8646"/>
                  </a:lnTo>
                  <a:lnTo>
                    <a:pt x="5653" y="8574"/>
                  </a:lnTo>
                  <a:lnTo>
                    <a:pt x="5554" y="8501"/>
                  </a:lnTo>
                  <a:lnTo>
                    <a:pt x="5453" y="8430"/>
                  </a:lnTo>
                  <a:lnTo>
                    <a:pt x="5352" y="8358"/>
                  </a:lnTo>
                  <a:lnTo>
                    <a:pt x="5247" y="8286"/>
                  </a:lnTo>
                  <a:lnTo>
                    <a:pt x="5140" y="8214"/>
                  </a:lnTo>
                  <a:lnTo>
                    <a:pt x="5140" y="8874"/>
                  </a:lnTo>
                  <a:lnTo>
                    <a:pt x="5044" y="8874"/>
                  </a:lnTo>
                  <a:lnTo>
                    <a:pt x="5014" y="8810"/>
                  </a:lnTo>
                  <a:lnTo>
                    <a:pt x="4982" y="8746"/>
                  </a:lnTo>
                  <a:lnTo>
                    <a:pt x="4949" y="8684"/>
                  </a:lnTo>
                  <a:lnTo>
                    <a:pt x="4913" y="8620"/>
                  </a:lnTo>
                  <a:lnTo>
                    <a:pt x="4875" y="8559"/>
                  </a:lnTo>
                  <a:lnTo>
                    <a:pt x="4836" y="8496"/>
                  </a:lnTo>
                  <a:lnTo>
                    <a:pt x="4795" y="8435"/>
                  </a:lnTo>
                  <a:lnTo>
                    <a:pt x="4753" y="8373"/>
                  </a:lnTo>
                  <a:lnTo>
                    <a:pt x="4709" y="8313"/>
                  </a:lnTo>
                  <a:lnTo>
                    <a:pt x="4664" y="8252"/>
                  </a:lnTo>
                  <a:lnTo>
                    <a:pt x="4617" y="8193"/>
                  </a:lnTo>
                  <a:lnTo>
                    <a:pt x="4568" y="8133"/>
                  </a:lnTo>
                  <a:lnTo>
                    <a:pt x="4519" y="8075"/>
                  </a:lnTo>
                  <a:lnTo>
                    <a:pt x="4468" y="8016"/>
                  </a:lnTo>
                  <a:lnTo>
                    <a:pt x="4416" y="7959"/>
                  </a:lnTo>
                  <a:lnTo>
                    <a:pt x="4363" y="7902"/>
                  </a:lnTo>
                  <a:lnTo>
                    <a:pt x="4310" y="7846"/>
                  </a:lnTo>
                  <a:lnTo>
                    <a:pt x="4255" y="7791"/>
                  </a:lnTo>
                  <a:lnTo>
                    <a:pt x="4199" y="7736"/>
                  </a:lnTo>
                  <a:lnTo>
                    <a:pt x="4143" y="7682"/>
                  </a:lnTo>
                  <a:lnTo>
                    <a:pt x="4086" y="7629"/>
                  </a:lnTo>
                  <a:lnTo>
                    <a:pt x="4028" y="7576"/>
                  </a:lnTo>
                  <a:lnTo>
                    <a:pt x="3970" y="7524"/>
                  </a:lnTo>
                  <a:lnTo>
                    <a:pt x="3912" y="7474"/>
                  </a:lnTo>
                  <a:lnTo>
                    <a:pt x="3853" y="7423"/>
                  </a:lnTo>
                  <a:lnTo>
                    <a:pt x="3793" y="7375"/>
                  </a:lnTo>
                  <a:lnTo>
                    <a:pt x="3733" y="7327"/>
                  </a:lnTo>
                  <a:lnTo>
                    <a:pt x="3674" y="7280"/>
                  </a:lnTo>
                  <a:lnTo>
                    <a:pt x="3614" y="7234"/>
                  </a:lnTo>
                  <a:lnTo>
                    <a:pt x="3555" y="7189"/>
                  </a:lnTo>
                  <a:lnTo>
                    <a:pt x="3495" y="7144"/>
                  </a:lnTo>
                  <a:lnTo>
                    <a:pt x="3436" y="7101"/>
                  </a:lnTo>
                  <a:lnTo>
                    <a:pt x="3436" y="7101"/>
                  </a:lnTo>
                  <a:lnTo>
                    <a:pt x="3372" y="7056"/>
                  </a:lnTo>
                  <a:lnTo>
                    <a:pt x="3308" y="7010"/>
                  </a:lnTo>
                  <a:lnTo>
                    <a:pt x="3244" y="6964"/>
                  </a:lnTo>
                  <a:lnTo>
                    <a:pt x="3180" y="6918"/>
                  </a:lnTo>
                  <a:lnTo>
                    <a:pt x="3114" y="6872"/>
                  </a:lnTo>
                  <a:lnTo>
                    <a:pt x="3050" y="6825"/>
                  </a:lnTo>
                  <a:lnTo>
                    <a:pt x="2985" y="6779"/>
                  </a:lnTo>
                  <a:lnTo>
                    <a:pt x="2920" y="6733"/>
                  </a:lnTo>
                  <a:lnTo>
                    <a:pt x="2920" y="7445"/>
                  </a:lnTo>
                  <a:lnTo>
                    <a:pt x="2824" y="7445"/>
                  </a:lnTo>
                  <a:lnTo>
                    <a:pt x="2797" y="7379"/>
                  </a:lnTo>
                  <a:lnTo>
                    <a:pt x="2770" y="7315"/>
                  </a:lnTo>
                  <a:lnTo>
                    <a:pt x="2741" y="7251"/>
                  </a:lnTo>
                  <a:lnTo>
                    <a:pt x="2712" y="7187"/>
                  </a:lnTo>
                  <a:lnTo>
                    <a:pt x="2681" y="7126"/>
                  </a:lnTo>
                  <a:lnTo>
                    <a:pt x="2649" y="7064"/>
                  </a:lnTo>
                  <a:lnTo>
                    <a:pt x="2615" y="7004"/>
                  </a:lnTo>
                  <a:lnTo>
                    <a:pt x="2580" y="6944"/>
                  </a:lnTo>
                  <a:lnTo>
                    <a:pt x="2544" y="6886"/>
                  </a:lnTo>
                  <a:lnTo>
                    <a:pt x="2507" y="6827"/>
                  </a:lnTo>
                  <a:lnTo>
                    <a:pt x="2468" y="6769"/>
                  </a:lnTo>
                  <a:lnTo>
                    <a:pt x="2429" y="6712"/>
                  </a:lnTo>
                  <a:lnTo>
                    <a:pt x="2387" y="6654"/>
                  </a:lnTo>
                  <a:lnTo>
                    <a:pt x="2345" y="6598"/>
                  </a:lnTo>
                  <a:lnTo>
                    <a:pt x="2302" y="6541"/>
                  </a:lnTo>
                  <a:lnTo>
                    <a:pt x="2257" y="6485"/>
                  </a:lnTo>
                  <a:lnTo>
                    <a:pt x="2211" y="6430"/>
                  </a:lnTo>
                  <a:lnTo>
                    <a:pt x="2163" y="6374"/>
                  </a:lnTo>
                  <a:lnTo>
                    <a:pt x="2115" y="6319"/>
                  </a:lnTo>
                  <a:lnTo>
                    <a:pt x="2065" y="6263"/>
                  </a:lnTo>
                  <a:lnTo>
                    <a:pt x="2014" y="6208"/>
                  </a:lnTo>
                  <a:lnTo>
                    <a:pt x="1962" y="6153"/>
                  </a:lnTo>
                  <a:lnTo>
                    <a:pt x="1908" y="6097"/>
                  </a:lnTo>
                  <a:lnTo>
                    <a:pt x="1853" y="6041"/>
                  </a:lnTo>
                  <a:lnTo>
                    <a:pt x="1798" y="5985"/>
                  </a:lnTo>
                  <a:lnTo>
                    <a:pt x="1740" y="5930"/>
                  </a:lnTo>
                  <a:lnTo>
                    <a:pt x="1682" y="5874"/>
                  </a:lnTo>
                  <a:lnTo>
                    <a:pt x="1622" y="5816"/>
                  </a:lnTo>
                  <a:lnTo>
                    <a:pt x="1499" y="5702"/>
                  </a:lnTo>
                  <a:lnTo>
                    <a:pt x="1371" y="5585"/>
                  </a:lnTo>
                  <a:lnTo>
                    <a:pt x="1302" y="5523"/>
                  </a:lnTo>
                  <a:lnTo>
                    <a:pt x="1235" y="5462"/>
                  </a:lnTo>
                  <a:lnTo>
                    <a:pt x="1170" y="5403"/>
                  </a:lnTo>
                  <a:lnTo>
                    <a:pt x="1110" y="5344"/>
                  </a:lnTo>
                  <a:lnTo>
                    <a:pt x="1050" y="5288"/>
                  </a:lnTo>
                  <a:lnTo>
                    <a:pt x="993" y="5233"/>
                  </a:lnTo>
                  <a:lnTo>
                    <a:pt x="938" y="5178"/>
                  </a:lnTo>
                  <a:lnTo>
                    <a:pt x="886" y="5125"/>
                  </a:lnTo>
                  <a:lnTo>
                    <a:pt x="836" y="5073"/>
                  </a:lnTo>
                  <a:lnTo>
                    <a:pt x="787" y="5021"/>
                  </a:lnTo>
                  <a:lnTo>
                    <a:pt x="741" y="4972"/>
                  </a:lnTo>
                  <a:lnTo>
                    <a:pt x="697" y="4923"/>
                  </a:lnTo>
                  <a:lnTo>
                    <a:pt x="655" y="4875"/>
                  </a:lnTo>
                  <a:lnTo>
                    <a:pt x="615" y="4827"/>
                  </a:lnTo>
                  <a:lnTo>
                    <a:pt x="577" y="4780"/>
                  </a:lnTo>
                  <a:lnTo>
                    <a:pt x="540" y="4734"/>
                  </a:lnTo>
                  <a:lnTo>
                    <a:pt x="504" y="4689"/>
                  </a:lnTo>
                  <a:lnTo>
                    <a:pt x="471" y="4644"/>
                  </a:lnTo>
                  <a:lnTo>
                    <a:pt x="439" y="4600"/>
                  </a:lnTo>
                  <a:lnTo>
                    <a:pt x="408" y="4556"/>
                  </a:lnTo>
                  <a:lnTo>
                    <a:pt x="380" y="4513"/>
                  </a:lnTo>
                  <a:lnTo>
                    <a:pt x="352" y="4469"/>
                  </a:lnTo>
                  <a:lnTo>
                    <a:pt x="325" y="4425"/>
                  </a:lnTo>
                  <a:lnTo>
                    <a:pt x="301" y="4383"/>
                  </a:lnTo>
                  <a:lnTo>
                    <a:pt x="277" y="4340"/>
                  </a:lnTo>
                  <a:lnTo>
                    <a:pt x="254" y="4298"/>
                  </a:lnTo>
                  <a:lnTo>
                    <a:pt x="233" y="4255"/>
                  </a:lnTo>
                  <a:lnTo>
                    <a:pt x="212" y="4213"/>
                  </a:lnTo>
                  <a:lnTo>
                    <a:pt x="193" y="4170"/>
                  </a:lnTo>
                  <a:lnTo>
                    <a:pt x="174" y="4127"/>
                  </a:lnTo>
                  <a:lnTo>
                    <a:pt x="157" y="4084"/>
                  </a:lnTo>
                  <a:lnTo>
                    <a:pt x="140" y="4041"/>
                  </a:lnTo>
                  <a:lnTo>
                    <a:pt x="121" y="3989"/>
                  </a:lnTo>
                  <a:lnTo>
                    <a:pt x="103" y="3937"/>
                  </a:lnTo>
                  <a:lnTo>
                    <a:pt x="88" y="3887"/>
                  </a:lnTo>
                  <a:lnTo>
                    <a:pt x="74" y="3838"/>
                  </a:lnTo>
                  <a:lnTo>
                    <a:pt x="61" y="3789"/>
                  </a:lnTo>
                  <a:lnTo>
                    <a:pt x="50" y="3739"/>
                  </a:lnTo>
                  <a:lnTo>
                    <a:pt x="40" y="3691"/>
                  </a:lnTo>
                  <a:lnTo>
                    <a:pt x="32" y="3642"/>
                  </a:lnTo>
                  <a:lnTo>
                    <a:pt x="23" y="3593"/>
                  </a:lnTo>
                  <a:lnTo>
                    <a:pt x="17" y="3542"/>
                  </a:lnTo>
                  <a:lnTo>
                    <a:pt x="12" y="3492"/>
                  </a:lnTo>
                  <a:lnTo>
                    <a:pt x="8" y="3441"/>
                  </a:lnTo>
                  <a:lnTo>
                    <a:pt x="5" y="3389"/>
                  </a:lnTo>
                  <a:lnTo>
                    <a:pt x="2" y="3334"/>
                  </a:lnTo>
                  <a:lnTo>
                    <a:pt x="1" y="3279"/>
                  </a:lnTo>
                  <a:lnTo>
                    <a:pt x="0" y="3221"/>
                  </a:lnTo>
                  <a:lnTo>
                    <a:pt x="0" y="3170"/>
                  </a:lnTo>
                  <a:lnTo>
                    <a:pt x="2" y="3119"/>
                  </a:lnTo>
                  <a:lnTo>
                    <a:pt x="5" y="3069"/>
                  </a:lnTo>
                  <a:lnTo>
                    <a:pt x="10" y="3017"/>
                  </a:lnTo>
                  <a:lnTo>
                    <a:pt x="16" y="2968"/>
                  </a:lnTo>
                  <a:lnTo>
                    <a:pt x="24" y="2919"/>
                  </a:lnTo>
                  <a:lnTo>
                    <a:pt x="34" y="2870"/>
                  </a:lnTo>
                  <a:lnTo>
                    <a:pt x="45" y="2821"/>
                  </a:lnTo>
                  <a:lnTo>
                    <a:pt x="56" y="2774"/>
                  </a:lnTo>
                  <a:lnTo>
                    <a:pt x="71" y="2727"/>
                  </a:lnTo>
                  <a:lnTo>
                    <a:pt x="85" y="2682"/>
                  </a:lnTo>
                  <a:lnTo>
                    <a:pt x="101" y="2636"/>
                  </a:lnTo>
                  <a:lnTo>
                    <a:pt x="118" y="2592"/>
                  </a:lnTo>
                  <a:lnTo>
                    <a:pt x="136" y="2549"/>
                  </a:lnTo>
                  <a:lnTo>
                    <a:pt x="156" y="2507"/>
                  </a:lnTo>
                  <a:lnTo>
                    <a:pt x="177" y="2466"/>
                  </a:lnTo>
                  <a:lnTo>
                    <a:pt x="199" y="2426"/>
                  </a:lnTo>
                  <a:lnTo>
                    <a:pt x="222" y="2386"/>
                  </a:lnTo>
                  <a:lnTo>
                    <a:pt x="244" y="2348"/>
                  </a:lnTo>
                  <a:lnTo>
                    <a:pt x="269" y="2312"/>
                  </a:lnTo>
                  <a:lnTo>
                    <a:pt x="294" y="2276"/>
                  </a:lnTo>
                  <a:lnTo>
                    <a:pt x="321" y="2242"/>
                  </a:lnTo>
                  <a:lnTo>
                    <a:pt x="348" y="2209"/>
                  </a:lnTo>
                  <a:lnTo>
                    <a:pt x="376" y="2177"/>
                  </a:lnTo>
                  <a:lnTo>
                    <a:pt x="404" y="2148"/>
                  </a:lnTo>
                  <a:lnTo>
                    <a:pt x="433" y="2119"/>
                  </a:lnTo>
                  <a:lnTo>
                    <a:pt x="463" y="2092"/>
                  </a:lnTo>
                  <a:lnTo>
                    <a:pt x="494" y="2067"/>
                  </a:lnTo>
                  <a:lnTo>
                    <a:pt x="525" y="2043"/>
                  </a:lnTo>
                  <a:lnTo>
                    <a:pt x="556" y="2021"/>
                  </a:lnTo>
                  <a:lnTo>
                    <a:pt x="589" y="2001"/>
                  </a:lnTo>
                  <a:lnTo>
                    <a:pt x="622" y="1982"/>
                  </a:lnTo>
                  <a:lnTo>
                    <a:pt x="622" y="2250"/>
                  </a:lnTo>
                  <a:lnTo>
                    <a:pt x="606" y="2272"/>
                  </a:lnTo>
                  <a:lnTo>
                    <a:pt x="590" y="2294"/>
                  </a:lnTo>
                  <a:lnTo>
                    <a:pt x="575" y="2317"/>
                  </a:lnTo>
                  <a:lnTo>
                    <a:pt x="560" y="2339"/>
                  </a:lnTo>
                  <a:lnTo>
                    <a:pt x="546" y="2362"/>
                  </a:lnTo>
                  <a:lnTo>
                    <a:pt x="533" y="2386"/>
                  </a:lnTo>
                  <a:lnTo>
                    <a:pt x="519" y="2409"/>
                  </a:lnTo>
                  <a:lnTo>
                    <a:pt x="507" y="2433"/>
                  </a:lnTo>
                  <a:lnTo>
                    <a:pt x="495" y="2457"/>
                  </a:lnTo>
                  <a:lnTo>
                    <a:pt x="483" y="2481"/>
                  </a:lnTo>
                  <a:lnTo>
                    <a:pt x="472" y="2506"/>
                  </a:lnTo>
                  <a:lnTo>
                    <a:pt x="462" y="2531"/>
                  </a:lnTo>
                  <a:lnTo>
                    <a:pt x="452" y="2556"/>
                  </a:lnTo>
                  <a:lnTo>
                    <a:pt x="442" y="2581"/>
                  </a:lnTo>
                  <a:lnTo>
                    <a:pt x="433" y="2607"/>
                  </a:lnTo>
                  <a:lnTo>
                    <a:pt x="425" y="2633"/>
                  </a:lnTo>
                  <a:lnTo>
                    <a:pt x="417" y="2658"/>
                  </a:lnTo>
                  <a:lnTo>
                    <a:pt x="409" y="2684"/>
                  </a:lnTo>
                  <a:lnTo>
                    <a:pt x="402" y="2711"/>
                  </a:lnTo>
                  <a:lnTo>
                    <a:pt x="396" y="2737"/>
                  </a:lnTo>
                  <a:lnTo>
                    <a:pt x="390" y="2764"/>
                  </a:lnTo>
                  <a:lnTo>
                    <a:pt x="385" y="2791"/>
                  </a:lnTo>
                  <a:lnTo>
                    <a:pt x="380" y="2817"/>
                  </a:lnTo>
                  <a:lnTo>
                    <a:pt x="376" y="2844"/>
                  </a:lnTo>
                  <a:lnTo>
                    <a:pt x="371" y="2872"/>
                  </a:lnTo>
                  <a:lnTo>
                    <a:pt x="367" y="2898"/>
                  </a:lnTo>
                  <a:lnTo>
                    <a:pt x="364" y="2926"/>
                  </a:lnTo>
                  <a:lnTo>
                    <a:pt x="362" y="2954"/>
                  </a:lnTo>
                  <a:lnTo>
                    <a:pt x="360" y="2980"/>
                  </a:lnTo>
                  <a:lnTo>
                    <a:pt x="359" y="3008"/>
                  </a:lnTo>
                  <a:lnTo>
                    <a:pt x="358" y="3036"/>
                  </a:lnTo>
                  <a:lnTo>
                    <a:pt x="358" y="3063"/>
                  </a:lnTo>
                  <a:lnTo>
                    <a:pt x="359" y="3115"/>
                  </a:lnTo>
                  <a:lnTo>
                    <a:pt x="361" y="3166"/>
                  </a:lnTo>
                  <a:lnTo>
                    <a:pt x="364" y="3218"/>
                  </a:lnTo>
                  <a:lnTo>
                    <a:pt x="370" y="3272"/>
                  </a:lnTo>
                  <a:lnTo>
                    <a:pt x="377" y="3325"/>
                  </a:lnTo>
                  <a:lnTo>
                    <a:pt x="386" y="3377"/>
                  </a:lnTo>
                  <a:lnTo>
                    <a:pt x="395" y="3431"/>
                  </a:lnTo>
                  <a:lnTo>
                    <a:pt x="407" y="3484"/>
                  </a:lnTo>
                  <a:lnTo>
                    <a:pt x="414" y="3511"/>
                  </a:lnTo>
                  <a:lnTo>
                    <a:pt x="420" y="3537"/>
                  </a:lnTo>
                  <a:lnTo>
                    <a:pt x="427" y="3564"/>
                  </a:lnTo>
                  <a:lnTo>
                    <a:pt x="435" y="3590"/>
                  </a:lnTo>
                  <a:lnTo>
                    <a:pt x="442" y="3616"/>
                  </a:lnTo>
                  <a:lnTo>
                    <a:pt x="452" y="3642"/>
                  </a:lnTo>
                  <a:lnTo>
                    <a:pt x="460" y="3668"/>
                  </a:lnTo>
                  <a:lnTo>
                    <a:pt x="470" y="3694"/>
                  </a:lnTo>
                  <a:lnTo>
                    <a:pt x="479" y="3720"/>
                  </a:lnTo>
                  <a:lnTo>
                    <a:pt x="490" y="3745"/>
                  </a:lnTo>
                  <a:lnTo>
                    <a:pt x="500" y="3771"/>
                  </a:lnTo>
                  <a:lnTo>
                    <a:pt x="510" y="3796"/>
                  </a:lnTo>
                  <a:lnTo>
                    <a:pt x="521" y="3820"/>
                  </a:lnTo>
                  <a:lnTo>
                    <a:pt x="534" y="3845"/>
                  </a:lnTo>
                  <a:lnTo>
                    <a:pt x="546" y="3870"/>
                  </a:lnTo>
                  <a:lnTo>
                    <a:pt x="558" y="3894"/>
                  </a:lnTo>
                  <a:lnTo>
                    <a:pt x="600" y="3970"/>
                  </a:lnTo>
                  <a:lnTo>
                    <a:pt x="649" y="4047"/>
                  </a:lnTo>
                  <a:lnTo>
                    <a:pt x="702" y="4125"/>
                  </a:lnTo>
                  <a:lnTo>
                    <a:pt x="761" y="4204"/>
                  </a:lnTo>
                  <a:lnTo>
                    <a:pt x="824" y="4283"/>
                  </a:lnTo>
                  <a:lnTo>
                    <a:pt x="892" y="4363"/>
                  </a:lnTo>
                  <a:lnTo>
                    <a:pt x="964" y="4443"/>
                  </a:lnTo>
                  <a:lnTo>
                    <a:pt x="1040" y="4523"/>
                  </a:lnTo>
                  <a:lnTo>
                    <a:pt x="1119" y="4604"/>
                  </a:lnTo>
                  <a:lnTo>
                    <a:pt x="1202" y="4685"/>
                  </a:lnTo>
                  <a:lnTo>
                    <a:pt x="1287" y="4766"/>
                  </a:lnTo>
                  <a:lnTo>
                    <a:pt x="1377" y="4847"/>
                  </a:lnTo>
                  <a:lnTo>
                    <a:pt x="1468" y="4928"/>
                  </a:lnTo>
                  <a:lnTo>
                    <a:pt x="1562" y="5008"/>
                  </a:lnTo>
                  <a:lnTo>
                    <a:pt x="1657" y="5088"/>
                  </a:lnTo>
                  <a:lnTo>
                    <a:pt x="1755" y="5168"/>
                  </a:lnTo>
                  <a:lnTo>
                    <a:pt x="1852" y="5247"/>
                  </a:lnTo>
                  <a:lnTo>
                    <a:pt x="1952" y="5326"/>
                  </a:lnTo>
                  <a:lnTo>
                    <a:pt x="2052" y="5403"/>
                  </a:lnTo>
                  <a:lnTo>
                    <a:pt x="2154" y="5480"/>
                  </a:lnTo>
                  <a:lnTo>
                    <a:pt x="2256" y="5556"/>
                  </a:lnTo>
                  <a:lnTo>
                    <a:pt x="2357" y="5631"/>
                  </a:lnTo>
                  <a:lnTo>
                    <a:pt x="2458" y="5703"/>
                  </a:lnTo>
                  <a:lnTo>
                    <a:pt x="2559" y="5775"/>
                  </a:lnTo>
                  <a:lnTo>
                    <a:pt x="2658" y="5846"/>
                  </a:lnTo>
                  <a:lnTo>
                    <a:pt x="2758" y="5916"/>
                  </a:lnTo>
                  <a:lnTo>
                    <a:pt x="2855" y="5983"/>
                  </a:lnTo>
                  <a:lnTo>
                    <a:pt x="2951" y="6049"/>
                  </a:lnTo>
                  <a:lnTo>
                    <a:pt x="3137" y="6175"/>
                  </a:lnTo>
                  <a:lnTo>
                    <a:pt x="3312" y="6293"/>
                  </a:lnTo>
                  <a:lnTo>
                    <a:pt x="3814" y="6629"/>
                  </a:lnTo>
                  <a:lnTo>
                    <a:pt x="4266" y="6931"/>
                  </a:lnTo>
                  <a:lnTo>
                    <a:pt x="4672" y="7204"/>
                  </a:lnTo>
                  <a:lnTo>
                    <a:pt x="5035" y="7450"/>
                  </a:lnTo>
                  <a:lnTo>
                    <a:pt x="5200" y="7564"/>
                  </a:lnTo>
                  <a:lnTo>
                    <a:pt x="5356" y="7673"/>
                  </a:lnTo>
                  <a:lnTo>
                    <a:pt x="5503" y="7776"/>
                  </a:lnTo>
                  <a:lnTo>
                    <a:pt x="5641" y="7875"/>
                  </a:lnTo>
                  <a:lnTo>
                    <a:pt x="5772" y="7970"/>
                  </a:lnTo>
                  <a:lnTo>
                    <a:pt x="5893" y="8060"/>
                  </a:lnTo>
                  <a:lnTo>
                    <a:pt x="6007" y="8147"/>
                  </a:lnTo>
                  <a:lnTo>
                    <a:pt x="6114" y="8232"/>
                  </a:lnTo>
                  <a:lnTo>
                    <a:pt x="6213" y="8314"/>
                  </a:lnTo>
                  <a:lnTo>
                    <a:pt x="6307" y="8394"/>
                  </a:lnTo>
                  <a:lnTo>
                    <a:pt x="6394" y="8472"/>
                  </a:lnTo>
                  <a:lnTo>
                    <a:pt x="6476" y="8548"/>
                  </a:lnTo>
                  <a:lnTo>
                    <a:pt x="6552" y="8623"/>
                  </a:lnTo>
                  <a:lnTo>
                    <a:pt x="6624" y="8698"/>
                  </a:lnTo>
                  <a:lnTo>
                    <a:pt x="6691" y="8773"/>
                  </a:lnTo>
                  <a:lnTo>
                    <a:pt x="6753" y="8849"/>
                  </a:lnTo>
                  <a:lnTo>
                    <a:pt x="6813" y="8925"/>
                  </a:lnTo>
                  <a:lnTo>
                    <a:pt x="6869" y="9002"/>
                  </a:lnTo>
                  <a:lnTo>
                    <a:pt x="6922" y="9080"/>
                  </a:lnTo>
                  <a:lnTo>
                    <a:pt x="6972" y="9160"/>
                  </a:lnTo>
                  <a:lnTo>
                    <a:pt x="7020" y="9243"/>
                  </a:lnTo>
                  <a:lnTo>
                    <a:pt x="7067" y="9328"/>
                  </a:lnTo>
                  <a:lnTo>
                    <a:pt x="7112" y="9416"/>
                  </a:lnTo>
                  <a:lnTo>
                    <a:pt x="7156" y="9507"/>
                  </a:lnTo>
                  <a:lnTo>
                    <a:pt x="7176" y="9552"/>
                  </a:lnTo>
                  <a:lnTo>
                    <a:pt x="7195" y="9599"/>
                  </a:lnTo>
                  <a:lnTo>
                    <a:pt x="7214" y="9649"/>
                  </a:lnTo>
                  <a:lnTo>
                    <a:pt x="7233" y="9702"/>
                  </a:lnTo>
                  <a:lnTo>
                    <a:pt x="7252" y="9759"/>
                  </a:lnTo>
                  <a:lnTo>
                    <a:pt x="7269" y="9817"/>
                  </a:lnTo>
                  <a:lnTo>
                    <a:pt x="7286" y="9879"/>
                  </a:lnTo>
                  <a:lnTo>
                    <a:pt x="7303" y="9942"/>
                  </a:lnTo>
                  <a:lnTo>
                    <a:pt x="7391" y="9929"/>
                  </a:lnTo>
                  <a:lnTo>
                    <a:pt x="7501" y="9913"/>
                  </a:lnTo>
                  <a:lnTo>
                    <a:pt x="7629" y="9893"/>
                  </a:lnTo>
                  <a:lnTo>
                    <a:pt x="7773" y="9872"/>
                  </a:lnTo>
                  <a:lnTo>
                    <a:pt x="7928" y="9848"/>
                  </a:lnTo>
                  <a:lnTo>
                    <a:pt x="8092" y="9822"/>
                  </a:lnTo>
                  <a:lnTo>
                    <a:pt x="8260" y="9797"/>
                  </a:lnTo>
                  <a:lnTo>
                    <a:pt x="8430" y="9771"/>
                  </a:lnTo>
                  <a:lnTo>
                    <a:pt x="8599" y="9745"/>
                  </a:lnTo>
                  <a:lnTo>
                    <a:pt x="8763" y="9720"/>
                  </a:lnTo>
                  <a:lnTo>
                    <a:pt x="8918" y="9696"/>
                  </a:lnTo>
                  <a:lnTo>
                    <a:pt x="9063" y="9674"/>
                  </a:lnTo>
                  <a:lnTo>
                    <a:pt x="9192" y="9654"/>
                  </a:lnTo>
                  <a:lnTo>
                    <a:pt x="9303" y="9637"/>
                  </a:lnTo>
                  <a:lnTo>
                    <a:pt x="9393" y="9623"/>
                  </a:lnTo>
                  <a:lnTo>
                    <a:pt x="9457" y="9613"/>
                  </a:lnTo>
                  <a:lnTo>
                    <a:pt x="9479" y="9610"/>
                  </a:lnTo>
                  <a:lnTo>
                    <a:pt x="9504" y="9606"/>
                  </a:lnTo>
                  <a:lnTo>
                    <a:pt x="9533" y="9603"/>
                  </a:lnTo>
                  <a:lnTo>
                    <a:pt x="9564" y="9599"/>
                  </a:lnTo>
                  <a:lnTo>
                    <a:pt x="9594" y="9596"/>
                  </a:lnTo>
                  <a:lnTo>
                    <a:pt x="9624" y="9592"/>
                  </a:lnTo>
                  <a:lnTo>
                    <a:pt x="9650" y="9590"/>
                  </a:lnTo>
                  <a:lnTo>
                    <a:pt x="9674" y="9587"/>
                  </a:lnTo>
                  <a:lnTo>
                    <a:pt x="9721" y="9558"/>
                  </a:lnTo>
                  <a:lnTo>
                    <a:pt x="9766" y="9526"/>
                  </a:lnTo>
                  <a:lnTo>
                    <a:pt x="9812" y="9493"/>
                  </a:lnTo>
                  <a:lnTo>
                    <a:pt x="9855" y="9459"/>
                  </a:lnTo>
                  <a:lnTo>
                    <a:pt x="9897" y="9424"/>
                  </a:lnTo>
                  <a:lnTo>
                    <a:pt x="9938" y="9388"/>
                  </a:lnTo>
                  <a:lnTo>
                    <a:pt x="9978" y="9352"/>
                  </a:lnTo>
                  <a:lnTo>
                    <a:pt x="10017" y="9314"/>
                  </a:lnTo>
                  <a:lnTo>
                    <a:pt x="10055" y="9275"/>
                  </a:lnTo>
                  <a:lnTo>
                    <a:pt x="10093" y="9234"/>
                  </a:lnTo>
                  <a:lnTo>
                    <a:pt x="10129" y="9193"/>
                  </a:lnTo>
                  <a:lnTo>
                    <a:pt x="10165" y="9150"/>
                  </a:lnTo>
                  <a:lnTo>
                    <a:pt x="10200" y="9106"/>
                  </a:lnTo>
                  <a:lnTo>
                    <a:pt x="10235" y="9061"/>
                  </a:lnTo>
                  <a:lnTo>
                    <a:pt x="10267" y="9015"/>
                  </a:lnTo>
                  <a:lnTo>
                    <a:pt x="10301" y="8968"/>
                  </a:lnTo>
                  <a:lnTo>
                    <a:pt x="9222" y="8884"/>
                  </a:lnTo>
                  <a:lnTo>
                    <a:pt x="9201" y="8930"/>
                  </a:lnTo>
                  <a:lnTo>
                    <a:pt x="9180" y="8973"/>
                  </a:lnTo>
                  <a:lnTo>
                    <a:pt x="9159" y="9015"/>
                  </a:lnTo>
                  <a:lnTo>
                    <a:pt x="9140" y="9055"/>
                  </a:lnTo>
                  <a:lnTo>
                    <a:pt x="9119" y="9093"/>
                  </a:lnTo>
                  <a:lnTo>
                    <a:pt x="9100" y="9129"/>
                  </a:lnTo>
                  <a:lnTo>
                    <a:pt x="9080" y="9163"/>
                  </a:lnTo>
                  <a:lnTo>
                    <a:pt x="9062" y="9195"/>
                  </a:lnTo>
                  <a:lnTo>
                    <a:pt x="8975" y="9195"/>
                  </a:lnTo>
                  <a:lnTo>
                    <a:pt x="8986" y="9154"/>
                  </a:lnTo>
                  <a:lnTo>
                    <a:pt x="8996" y="9114"/>
                  </a:lnTo>
                  <a:lnTo>
                    <a:pt x="9006" y="9073"/>
                  </a:lnTo>
                  <a:lnTo>
                    <a:pt x="9016" y="9032"/>
                  </a:lnTo>
                  <a:lnTo>
                    <a:pt x="9025" y="8992"/>
                  </a:lnTo>
                  <a:lnTo>
                    <a:pt x="9034" y="8952"/>
                  </a:lnTo>
                  <a:lnTo>
                    <a:pt x="9043" y="8912"/>
                  </a:lnTo>
                  <a:lnTo>
                    <a:pt x="9052" y="8871"/>
                  </a:lnTo>
                  <a:lnTo>
                    <a:pt x="8776" y="8851"/>
                  </a:lnTo>
                  <a:lnTo>
                    <a:pt x="8776" y="8792"/>
                  </a:lnTo>
                  <a:lnTo>
                    <a:pt x="9075" y="8756"/>
                  </a:lnTo>
                  <a:lnTo>
                    <a:pt x="9086" y="8698"/>
                  </a:lnTo>
                  <a:lnTo>
                    <a:pt x="9095" y="8642"/>
                  </a:lnTo>
                  <a:lnTo>
                    <a:pt x="9104" y="8585"/>
                  </a:lnTo>
                  <a:lnTo>
                    <a:pt x="9112" y="8530"/>
                  </a:lnTo>
                  <a:lnTo>
                    <a:pt x="9119" y="8475"/>
                  </a:lnTo>
                  <a:lnTo>
                    <a:pt x="9127" y="8419"/>
                  </a:lnTo>
                  <a:lnTo>
                    <a:pt x="9133" y="8365"/>
                  </a:lnTo>
                  <a:lnTo>
                    <a:pt x="9139" y="8311"/>
                  </a:lnTo>
                  <a:lnTo>
                    <a:pt x="9144" y="8257"/>
                  </a:lnTo>
                  <a:lnTo>
                    <a:pt x="9148" y="8204"/>
                  </a:lnTo>
                  <a:lnTo>
                    <a:pt x="9152" y="8151"/>
                  </a:lnTo>
                  <a:lnTo>
                    <a:pt x="9156" y="8098"/>
                  </a:lnTo>
                  <a:lnTo>
                    <a:pt x="9158" y="8046"/>
                  </a:lnTo>
                  <a:lnTo>
                    <a:pt x="9162" y="7995"/>
                  </a:lnTo>
                  <a:lnTo>
                    <a:pt x="9164" y="7943"/>
                  </a:lnTo>
                  <a:lnTo>
                    <a:pt x="9165" y="7892"/>
                  </a:lnTo>
                  <a:lnTo>
                    <a:pt x="7806" y="7815"/>
                  </a:lnTo>
                  <a:lnTo>
                    <a:pt x="7803" y="7867"/>
                  </a:lnTo>
                  <a:lnTo>
                    <a:pt x="7801" y="7919"/>
                  </a:lnTo>
                  <a:lnTo>
                    <a:pt x="7800" y="7969"/>
                  </a:lnTo>
                  <a:lnTo>
                    <a:pt x="7799" y="8018"/>
                  </a:lnTo>
                  <a:lnTo>
                    <a:pt x="7799" y="8066"/>
                  </a:lnTo>
                  <a:lnTo>
                    <a:pt x="7799" y="8115"/>
                  </a:lnTo>
                  <a:lnTo>
                    <a:pt x="7800" y="8162"/>
                  </a:lnTo>
                  <a:lnTo>
                    <a:pt x="7802" y="8208"/>
                  </a:lnTo>
                  <a:lnTo>
                    <a:pt x="7715" y="8208"/>
                  </a:lnTo>
                  <a:lnTo>
                    <a:pt x="7704" y="8157"/>
                  </a:lnTo>
                  <a:lnTo>
                    <a:pt x="7694" y="8106"/>
                  </a:lnTo>
                  <a:lnTo>
                    <a:pt x="7685" y="8056"/>
                  </a:lnTo>
                  <a:lnTo>
                    <a:pt x="7676" y="8006"/>
                  </a:lnTo>
                  <a:lnTo>
                    <a:pt x="7667" y="7956"/>
                  </a:lnTo>
                  <a:lnTo>
                    <a:pt x="7659" y="7905"/>
                  </a:lnTo>
                  <a:lnTo>
                    <a:pt x="7652" y="7856"/>
                  </a:lnTo>
                  <a:lnTo>
                    <a:pt x="7646" y="7806"/>
                  </a:lnTo>
                  <a:lnTo>
                    <a:pt x="7348" y="7790"/>
                  </a:lnTo>
                  <a:lnTo>
                    <a:pt x="7348" y="7698"/>
                  </a:lnTo>
                  <a:lnTo>
                    <a:pt x="7630" y="7683"/>
                  </a:lnTo>
                  <a:lnTo>
                    <a:pt x="7623" y="7616"/>
                  </a:lnTo>
                  <a:lnTo>
                    <a:pt x="7617" y="7550"/>
                  </a:lnTo>
                  <a:lnTo>
                    <a:pt x="7612" y="7484"/>
                  </a:lnTo>
                  <a:lnTo>
                    <a:pt x="7608" y="7419"/>
                  </a:lnTo>
                  <a:lnTo>
                    <a:pt x="7604" y="7355"/>
                  </a:lnTo>
                  <a:lnTo>
                    <a:pt x="7601" y="7291"/>
                  </a:lnTo>
                  <a:lnTo>
                    <a:pt x="7598" y="7227"/>
                  </a:lnTo>
                  <a:lnTo>
                    <a:pt x="7597" y="7166"/>
                  </a:lnTo>
                  <a:lnTo>
                    <a:pt x="7596" y="7104"/>
                  </a:lnTo>
                  <a:lnTo>
                    <a:pt x="7595" y="7044"/>
                  </a:lnTo>
                  <a:lnTo>
                    <a:pt x="7595" y="6984"/>
                  </a:lnTo>
                  <a:lnTo>
                    <a:pt x="7596" y="6926"/>
                  </a:lnTo>
                  <a:lnTo>
                    <a:pt x="7597" y="6869"/>
                  </a:lnTo>
                  <a:lnTo>
                    <a:pt x="7599" y="6811"/>
                  </a:lnTo>
                  <a:lnTo>
                    <a:pt x="7601" y="6756"/>
                  </a:lnTo>
                  <a:lnTo>
                    <a:pt x="7603" y="6701"/>
                  </a:lnTo>
                  <a:lnTo>
                    <a:pt x="6809" y="6664"/>
                  </a:lnTo>
                  <a:lnTo>
                    <a:pt x="6822" y="6691"/>
                  </a:lnTo>
                  <a:lnTo>
                    <a:pt x="6837" y="6718"/>
                  </a:lnTo>
                  <a:lnTo>
                    <a:pt x="6850" y="6744"/>
                  </a:lnTo>
                  <a:lnTo>
                    <a:pt x="6864" y="6771"/>
                  </a:lnTo>
                  <a:lnTo>
                    <a:pt x="6877" y="6798"/>
                  </a:lnTo>
                  <a:lnTo>
                    <a:pt x="6890" y="6825"/>
                  </a:lnTo>
                  <a:lnTo>
                    <a:pt x="6901" y="6854"/>
                  </a:lnTo>
                  <a:lnTo>
                    <a:pt x="6913" y="6882"/>
                  </a:lnTo>
                  <a:lnTo>
                    <a:pt x="6927" y="6927"/>
                  </a:lnTo>
                  <a:lnTo>
                    <a:pt x="6941" y="6973"/>
                  </a:lnTo>
                  <a:lnTo>
                    <a:pt x="6955" y="7019"/>
                  </a:lnTo>
                  <a:lnTo>
                    <a:pt x="6967" y="7064"/>
                  </a:lnTo>
                  <a:lnTo>
                    <a:pt x="6977" y="7112"/>
                  </a:lnTo>
                  <a:lnTo>
                    <a:pt x="6988" y="7158"/>
                  </a:lnTo>
                  <a:lnTo>
                    <a:pt x="6996" y="7205"/>
                  </a:lnTo>
                  <a:lnTo>
                    <a:pt x="7004" y="7251"/>
                  </a:lnTo>
                  <a:lnTo>
                    <a:pt x="7010" y="7297"/>
                  </a:lnTo>
                  <a:lnTo>
                    <a:pt x="7016" y="7343"/>
                  </a:lnTo>
                  <a:lnTo>
                    <a:pt x="7022" y="7390"/>
                  </a:lnTo>
                  <a:lnTo>
                    <a:pt x="7026" y="7436"/>
                  </a:lnTo>
                  <a:lnTo>
                    <a:pt x="7029" y="7481"/>
                  </a:lnTo>
                  <a:lnTo>
                    <a:pt x="7032" y="7526"/>
                  </a:lnTo>
                  <a:lnTo>
                    <a:pt x="7034" y="7570"/>
                  </a:lnTo>
                  <a:lnTo>
                    <a:pt x="7035" y="7614"/>
                  </a:lnTo>
                  <a:lnTo>
                    <a:pt x="7035" y="7657"/>
                  </a:lnTo>
                  <a:lnTo>
                    <a:pt x="7035" y="7700"/>
                  </a:lnTo>
                  <a:lnTo>
                    <a:pt x="7034" y="7741"/>
                  </a:lnTo>
                  <a:lnTo>
                    <a:pt x="7033" y="7782"/>
                  </a:lnTo>
                  <a:lnTo>
                    <a:pt x="7029" y="7861"/>
                  </a:lnTo>
                  <a:lnTo>
                    <a:pt x="7023" y="7936"/>
                  </a:lnTo>
                  <a:lnTo>
                    <a:pt x="7014" y="8006"/>
                  </a:lnTo>
                  <a:lnTo>
                    <a:pt x="7006" y="8071"/>
                  </a:lnTo>
                  <a:lnTo>
                    <a:pt x="6997" y="8128"/>
                  </a:lnTo>
                  <a:lnTo>
                    <a:pt x="6987" y="8180"/>
                  </a:lnTo>
                  <a:lnTo>
                    <a:pt x="6890" y="8180"/>
                  </a:lnTo>
                  <a:lnTo>
                    <a:pt x="6886" y="8124"/>
                  </a:lnTo>
                  <a:lnTo>
                    <a:pt x="6881" y="8065"/>
                  </a:lnTo>
                  <a:lnTo>
                    <a:pt x="6874" y="8007"/>
                  </a:lnTo>
                  <a:lnTo>
                    <a:pt x="6864" y="7946"/>
                  </a:lnTo>
                  <a:lnTo>
                    <a:pt x="6854" y="7887"/>
                  </a:lnTo>
                  <a:lnTo>
                    <a:pt x="6843" y="7827"/>
                  </a:lnTo>
                  <a:lnTo>
                    <a:pt x="6829" y="7767"/>
                  </a:lnTo>
                  <a:lnTo>
                    <a:pt x="6815" y="7707"/>
                  </a:lnTo>
                  <a:lnTo>
                    <a:pt x="6801" y="7650"/>
                  </a:lnTo>
                  <a:lnTo>
                    <a:pt x="6784" y="7593"/>
                  </a:lnTo>
                  <a:lnTo>
                    <a:pt x="6768" y="7537"/>
                  </a:lnTo>
                  <a:lnTo>
                    <a:pt x="6750" y="7483"/>
                  </a:lnTo>
                  <a:lnTo>
                    <a:pt x="6733" y="7432"/>
                  </a:lnTo>
                  <a:lnTo>
                    <a:pt x="6715" y="7382"/>
                  </a:lnTo>
                  <a:lnTo>
                    <a:pt x="6698" y="7335"/>
                  </a:lnTo>
                  <a:lnTo>
                    <a:pt x="6681" y="7292"/>
                  </a:lnTo>
                  <a:lnTo>
                    <a:pt x="6658" y="7244"/>
                  </a:lnTo>
                  <a:lnTo>
                    <a:pt x="6635" y="7196"/>
                  </a:lnTo>
                  <a:lnTo>
                    <a:pt x="6611" y="7149"/>
                  </a:lnTo>
                  <a:lnTo>
                    <a:pt x="6584" y="7100"/>
                  </a:lnTo>
                  <a:lnTo>
                    <a:pt x="6556" y="7053"/>
                  </a:lnTo>
                  <a:lnTo>
                    <a:pt x="6527" y="7007"/>
                  </a:lnTo>
                  <a:lnTo>
                    <a:pt x="6496" y="6960"/>
                  </a:lnTo>
                  <a:lnTo>
                    <a:pt x="6463" y="6914"/>
                  </a:lnTo>
                  <a:lnTo>
                    <a:pt x="6428" y="6867"/>
                  </a:lnTo>
                  <a:lnTo>
                    <a:pt x="6392" y="6820"/>
                  </a:lnTo>
                  <a:lnTo>
                    <a:pt x="6353" y="6775"/>
                  </a:lnTo>
                  <a:lnTo>
                    <a:pt x="6314" y="6729"/>
                  </a:lnTo>
                  <a:lnTo>
                    <a:pt x="6272" y="6683"/>
                  </a:lnTo>
                  <a:lnTo>
                    <a:pt x="6229" y="6637"/>
                  </a:lnTo>
                  <a:lnTo>
                    <a:pt x="6185" y="6591"/>
                  </a:lnTo>
                  <a:lnTo>
                    <a:pt x="6137" y="6544"/>
                  </a:lnTo>
                  <a:lnTo>
                    <a:pt x="6089" y="6498"/>
                  </a:lnTo>
                  <a:lnTo>
                    <a:pt x="6039" y="6452"/>
                  </a:lnTo>
                  <a:lnTo>
                    <a:pt x="5986" y="6407"/>
                  </a:lnTo>
                  <a:lnTo>
                    <a:pt x="5933" y="6360"/>
                  </a:lnTo>
                  <a:lnTo>
                    <a:pt x="5877" y="6314"/>
                  </a:lnTo>
                  <a:lnTo>
                    <a:pt x="5819" y="6268"/>
                  </a:lnTo>
                  <a:lnTo>
                    <a:pt x="5759" y="6220"/>
                  </a:lnTo>
                  <a:lnTo>
                    <a:pt x="5699" y="6173"/>
                  </a:lnTo>
                  <a:lnTo>
                    <a:pt x="5635" y="6126"/>
                  </a:lnTo>
                  <a:lnTo>
                    <a:pt x="5571" y="6079"/>
                  </a:lnTo>
                  <a:lnTo>
                    <a:pt x="5503" y="6031"/>
                  </a:lnTo>
                  <a:lnTo>
                    <a:pt x="5435" y="5982"/>
                  </a:lnTo>
                  <a:lnTo>
                    <a:pt x="5364" y="5934"/>
                  </a:lnTo>
                  <a:lnTo>
                    <a:pt x="5291" y="5886"/>
                  </a:lnTo>
                  <a:lnTo>
                    <a:pt x="5216" y="5837"/>
                  </a:lnTo>
                  <a:lnTo>
                    <a:pt x="5140" y="5786"/>
                  </a:lnTo>
                  <a:lnTo>
                    <a:pt x="5140" y="6448"/>
                  </a:lnTo>
                  <a:lnTo>
                    <a:pt x="5044" y="6448"/>
                  </a:lnTo>
                  <a:lnTo>
                    <a:pt x="5017" y="6368"/>
                  </a:lnTo>
                  <a:lnTo>
                    <a:pt x="4987" y="6290"/>
                  </a:lnTo>
                  <a:lnTo>
                    <a:pt x="4955" y="6214"/>
                  </a:lnTo>
                  <a:lnTo>
                    <a:pt x="4922" y="6139"/>
                  </a:lnTo>
                  <a:lnTo>
                    <a:pt x="4886" y="6068"/>
                  </a:lnTo>
                  <a:lnTo>
                    <a:pt x="4847" y="5998"/>
                  </a:lnTo>
                  <a:lnTo>
                    <a:pt x="4806" y="5929"/>
                  </a:lnTo>
                  <a:lnTo>
                    <a:pt x="4762" y="5862"/>
                  </a:lnTo>
                  <a:lnTo>
                    <a:pt x="4716" y="5798"/>
                  </a:lnTo>
                  <a:lnTo>
                    <a:pt x="4668" y="5734"/>
                  </a:lnTo>
                  <a:lnTo>
                    <a:pt x="4619" y="5672"/>
                  </a:lnTo>
                  <a:lnTo>
                    <a:pt x="4566" y="5611"/>
                  </a:lnTo>
                  <a:lnTo>
                    <a:pt x="4511" y="5552"/>
                  </a:lnTo>
                  <a:lnTo>
                    <a:pt x="4454" y="5494"/>
                  </a:lnTo>
                  <a:lnTo>
                    <a:pt x="4395" y="5437"/>
                  </a:lnTo>
                  <a:lnTo>
                    <a:pt x="4334" y="5381"/>
                  </a:lnTo>
                  <a:lnTo>
                    <a:pt x="4271" y="5327"/>
                  </a:lnTo>
                  <a:lnTo>
                    <a:pt x="4205" y="5273"/>
                  </a:lnTo>
                  <a:lnTo>
                    <a:pt x="4137" y="5219"/>
                  </a:lnTo>
                  <a:lnTo>
                    <a:pt x="4067" y="5168"/>
                  </a:lnTo>
                  <a:lnTo>
                    <a:pt x="3995" y="5116"/>
                  </a:lnTo>
                  <a:lnTo>
                    <a:pt x="3921" y="5065"/>
                  </a:lnTo>
                  <a:lnTo>
                    <a:pt x="3844" y="5015"/>
                  </a:lnTo>
                  <a:lnTo>
                    <a:pt x="3766" y="4965"/>
                  </a:lnTo>
                  <a:lnTo>
                    <a:pt x="3686" y="4916"/>
                  </a:lnTo>
                  <a:lnTo>
                    <a:pt x="3604" y="4867"/>
                  </a:lnTo>
                  <a:lnTo>
                    <a:pt x="3519" y="4818"/>
                  </a:lnTo>
                  <a:lnTo>
                    <a:pt x="3433" y="4769"/>
                  </a:lnTo>
                  <a:lnTo>
                    <a:pt x="3344" y="4721"/>
                  </a:lnTo>
                  <a:lnTo>
                    <a:pt x="3254" y="4672"/>
                  </a:lnTo>
                  <a:lnTo>
                    <a:pt x="3161" y="4623"/>
                  </a:lnTo>
                  <a:lnTo>
                    <a:pt x="3067" y="4574"/>
                  </a:lnTo>
                  <a:lnTo>
                    <a:pt x="2990" y="4534"/>
                  </a:lnTo>
                  <a:lnTo>
                    <a:pt x="2916" y="4492"/>
                  </a:lnTo>
                  <a:lnTo>
                    <a:pt x="2846" y="4451"/>
                  </a:lnTo>
                  <a:lnTo>
                    <a:pt x="2779" y="4408"/>
                  </a:lnTo>
                  <a:lnTo>
                    <a:pt x="2715" y="4366"/>
                  </a:lnTo>
                  <a:lnTo>
                    <a:pt x="2654" y="4322"/>
                  </a:lnTo>
                  <a:lnTo>
                    <a:pt x="2597" y="4278"/>
                  </a:lnTo>
                  <a:lnTo>
                    <a:pt x="2542" y="4232"/>
                  </a:lnTo>
                  <a:lnTo>
                    <a:pt x="2490" y="4187"/>
                  </a:lnTo>
                  <a:lnTo>
                    <a:pt x="2442" y="4139"/>
                  </a:lnTo>
                  <a:lnTo>
                    <a:pt x="2395" y="4091"/>
                  </a:lnTo>
                  <a:lnTo>
                    <a:pt x="2352" y="4043"/>
                  </a:lnTo>
                  <a:lnTo>
                    <a:pt x="2312" y="3993"/>
                  </a:lnTo>
                  <a:lnTo>
                    <a:pt x="2275" y="3942"/>
                  </a:lnTo>
                  <a:lnTo>
                    <a:pt x="2240" y="3891"/>
                  </a:lnTo>
                  <a:lnTo>
                    <a:pt x="2209" y="3838"/>
                  </a:lnTo>
                  <a:lnTo>
                    <a:pt x="2179" y="3784"/>
                  </a:lnTo>
                  <a:lnTo>
                    <a:pt x="2151" y="3730"/>
                  </a:lnTo>
                  <a:lnTo>
                    <a:pt x="2126" y="3674"/>
                  </a:lnTo>
                  <a:lnTo>
                    <a:pt x="2105" y="3616"/>
                  </a:lnTo>
                  <a:lnTo>
                    <a:pt x="2085" y="3558"/>
                  </a:lnTo>
                  <a:lnTo>
                    <a:pt x="2068" y="3498"/>
                  </a:lnTo>
                  <a:lnTo>
                    <a:pt x="2053" y="3438"/>
                  </a:lnTo>
                  <a:lnTo>
                    <a:pt x="2040" y="3375"/>
                  </a:lnTo>
                  <a:lnTo>
                    <a:pt x="2030" y="3312"/>
                  </a:lnTo>
                  <a:lnTo>
                    <a:pt x="2022" y="3246"/>
                  </a:lnTo>
                  <a:lnTo>
                    <a:pt x="2015" y="3179"/>
                  </a:lnTo>
                  <a:lnTo>
                    <a:pt x="2011" y="3111"/>
                  </a:lnTo>
                  <a:lnTo>
                    <a:pt x="2009" y="3041"/>
                  </a:lnTo>
                  <a:lnTo>
                    <a:pt x="2009" y="2970"/>
                  </a:lnTo>
                  <a:lnTo>
                    <a:pt x="2010" y="2897"/>
                  </a:lnTo>
                  <a:lnTo>
                    <a:pt x="2014" y="2822"/>
                  </a:lnTo>
                  <a:lnTo>
                    <a:pt x="2298" y="2991"/>
                  </a:lnTo>
                  <a:lnTo>
                    <a:pt x="2306" y="3060"/>
                  </a:lnTo>
                  <a:lnTo>
                    <a:pt x="2317" y="3128"/>
                  </a:lnTo>
                  <a:lnTo>
                    <a:pt x="2331" y="3194"/>
                  </a:lnTo>
                  <a:lnTo>
                    <a:pt x="2348" y="3257"/>
                  </a:lnTo>
                  <a:lnTo>
                    <a:pt x="2367" y="3319"/>
                  </a:lnTo>
                  <a:lnTo>
                    <a:pt x="2388" y="3378"/>
                  </a:lnTo>
                  <a:lnTo>
                    <a:pt x="2413" y="3437"/>
                  </a:lnTo>
                  <a:lnTo>
                    <a:pt x="2440" y="3492"/>
                  </a:lnTo>
                  <a:lnTo>
                    <a:pt x="2468" y="3547"/>
                  </a:lnTo>
                  <a:lnTo>
                    <a:pt x="2499" y="3598"/>
                  </a:lnTo>
                  <a:lnTo>
                    <a:pt x="2532" y="3647"/>
                  </a:lnTo>
                  <a:lnTo>
                    <a:pt x="2567" y="3695"/>
                  </a:lnTo>
                  <a:lnTo>
                    <a:pt x="2604" y="3740"/>
                  </a:lnTo>
                  <a:lnTo>
                    <a:pt x="2643" y="3783"/>
                  </a:lnTo>
                  <a:lnTo>
                    <a:pt x="2683" y="3824"/>
                  </a:lnTo>
                  <a:lnTo>
                    <a:pt x="2726" y="3863"/>
                  </a:lnTo>
                  <a:lnTo>
                    <a:pt x="2769" y="3900"/>
                  </a:lnTo>
                  <a:lnTo>
                    <a:pt x="2814" y="3934"/>
                  </a:lnTo>
                  <a:lnTo>
                    <a:pt x="2861" y="3967"/>
                  </a:lnTo>
                  <a:lnTo>
                    <a:pt x="2909" y="3997"/>
                  </a:lnTo>
                  <a:lnTo>
                    <a:pt x="2958" y="4024"/>
                  </a:lnTo>
                  <a:lnTo>
                    <a:pt x="3007" y="4050"/>
                  </a:lnTo>
                  <a:lnTo>
                    <a:pt x="3059" y="4073"/>
                  </a:lnTo>
                  <a:lnTo>
                    <a:pt x="3111" y="4093"/>
                  </a:lnTo>
                  <a:lnTo>
                    <a:pt x="3165" y="4112"/>
                  </a:lnTo>
                  <a:lnTo>
                    <a:pt x="3218" y="4127"/>
                  </a:lnTo>
                  <a:lnTo>
                    <a:pt x="3272" y="4140"/>
                  </a:lnTo>
                  <a:lnTo>
                    <a:pt x="3328" y="4152"/>
                  </a:lnTo>
                  <a:lnTo>
                    <a:pt x="3383" y="4160"/>
                  </a:lnTo>
                  <a:lnTo>
                    <a:pt x="3439" y="4166"/>
                  </a:lnTo>
                  <a:lnTo>
                    <a:pt x="3495" y="4169"/>
                  </a:lnTo>
                  <a:lnTo>
                    <a:pt x="3553" y="4170"/>
                  </a:lnTo>
                  <a:lnTo>
                    <a:pt x="3618" y="4169"/>
                  </a:lnTo>
                  <a:lnTo>
                    <a:pt x="3684" y="4167"/>
                  </a:lnTo>
                  <a:lnTo>
                    <a:pt x="3750" y="4164"/>
                  </a:lnTo>
                  <a:lnTo>
                    <a:pt x="3815" y="4160"/>
                  </a:lnTo>
                  <a:lnTo>
                    <a:pt x="3879" y="4156"/>
                  </a:lnTo>
                  <a:lnTo>
                    <a:pt x="3944" y="4150"/>
                  </a:lnTo>
                  <a:lnTo>
                    <a:pt x="4008" y="4143"/>
                  </a:lnTo>
                  <a:lnTo>
                    <a:pt x="4070" y="4136"/>
                  </a:lnTo>
                  <a:lnTo>
                    <a:pt x="4133" y="4128"/>
                  </a:lnTo>
                  <a:lnTo>
                    <a:pt x="4196" y="4120"/>
                  </a:lnTo>
                  <a:lnTo>
                    <a:pt x="4258" y="4111"/>
                  </a:lnTo>
                  <a:lnTo>
                    <a:pt x="4320" y="4100"/>
                  </a:lnTo>
                  <a:lnTo>
                    <a:pt x="4381" y="4090"/>
                  </a:lnTo>
                  <a:lnTo>
                    <a:pt x="4442" y="4079"/>
                  </a:lnTo>
                  <a:lnTo>
                    <a:pt x="4504" y="4068"/>
                  </a:lnTo>
                  <a:lnTo>
                    <a:pt x="4564" y="4055"/>
                  </a:lnTo>
                  <a:lnTo>
                    <a:pt x="4650" y="4038"/>
                  </a:lnTo>
                  <a:lnTo>
                    <a:pt x="4737" y="4021"/>
                  </a:lnTo>
                  <a:lnTo>
                    <a:pt x="4821" y="4006"/>
                  </a:lnTo>
                  <a:lnTo>
                    <a:pt x="4905" y="3991"/>
                  </a:lnTo>
                  <a:lnTo>
                    <a:pt x="4988" y="3978"/>
                  </a:lnTo>
                  <a:lnTo>
                    <a:pt x="5070" y="3966"/>
                  </a:lnTo>
                  <a:lnTo>
                    <a:pt x="5110" y="3961"/>
                  </a:lnTo>
                  <a:lnTo>
                    <a:pt x="5152" y="3957"/>
                  </a:lnTo>
                  <a:lnTo>
                    <a:pt x="5191" y="3953"/>
                  </a:lnTo>
                  <a:lnTo>
                    <a:pt x="5231" y="3950"/>
                  </a:lnTo>
                  <a:lnTo>
                    <a:pt x="5270" y="3947"/>
                  </a:lnTo>
                  <a:lnTo>
                    <a:pt x="5309" y="3944"/>
                  </a:lnTo>
                  <a:lnTo>
                    <a:pt x="5348" y="3943"/>
                  </a:lnTo>
                  <a:lnTo>
                    <a:pt x="5386" y="3943"/>
                  </a:lnTo>
                  <a:lnTo>
                    <a:pt x="5424" y="3943"/>
                  </a:lnTo>
                  <a:lnTo>
                    <a:pt x="5462" y="3944"/>
                  </a:lnTo>
                  <a:lnTo>
                    <a:pt x="5500" y="3947"/>
                  </a:lnTo>
                  <a:lnTo>
                    <a:pt x="5537" y="3950"/>
                  </a:lnTo>
                  <a:lnTo>
                    <a:pt x="5573" y="3954"/>
                  </a:lnTo>
                  <a:lnTo>
                    <a:pt x="5610" y="3958"/>
                  </a:lnTo>
                  <a:lnTo>
                    <a:pt x="5644" y="3964"/>
                  </a:lnTo>
                  <a:lnTo>
                    <a:pt x="5680" y="3971"/>
                  </a:lnTo>
                  <a:lnTo>
                    <a:pt x="5715" y="3978"/>
                  </a:lnTo>
                  <a:lnTo>
                    <a:pt x="5750" y="3988"/>
                  </a:lnTo>
                  <a:lnTo>
                    <a:pt x="5785" y="3998"/>
                  </a:lnTo>
                  <a:lnTo>
                    <a:pt x="5819" y="4009"/>
                  </a:lnTo>
                  <a:lnTo>
                    <a:pt x="5819" y="3565"/>
                  </a:lnTo>
                  <a:lnTo>
                    <a:pt x="5537" y="3565"/>
                  </a:lnTo>
                  <a:lnTo>
                    <a:pt x="5516" y="3582"/>
                  </a:lnTo>
                  <a:lnTo>
                    <a:pt x="5494" y="3599"/>
                  </a:lnTo>
                  <a:lnTo>
                    <a:pt x="5469" y="3615"/>
                  </a:lnTo>
                  <a:lnTo>
                    <a:pt x="5441" y="3632"/>
                  </a:lnTo>
                  <a:lnTo>
                    <a:pt x="5411" y="3648"/>
                  </a:lnTo>
                  <a:lnTo>
                    <a:pt x="5380" y="3663"/>
                  </a:lnTo>
                  <a:lnTo>
                    <a:pt x="5345" y="3679"/>
                  </a:lnTo>
                  <a:lnTo>
                    <a:pt x="5308" y="3693"/>
                  </a:lnTo>
                  <a:lnTo>
                    <a:pt x="5269" y="3707"/>
                  </a:lnTo>
                  <a:lnTo>
                    <a:pt x="5228" y="3719"/>
                  </a:lnTo>
                  <a:lnTo>
                    <a:pt x="5205" y="3724"/>
                  </a:lnTo>
                  <a:lnTo>
                    <a:pt x="5183" y="3729"/>
                  </a:lnTo>
                  <a:lnTo>
                    <a:pt x="5161" y="3734"/>
                  </a:lnTo>
                  <a:lnTo>
                    <a:pt x="5137" y="3738"/>
                  </a:lnTo>
                  <a:lnTo>
                    <a:pt x="5114" y="3743"/>
                  </a:lnTo>
                  <a:lnTo>
                    <a:pt x="5089" y="3747"/>
                  </a:lnTo>
                  <a:lnTo>
                    <a:pt x="5063" y="3750"/>
                  </a:lnTo>
                  <a:lnTo>
                    <a:pt x="5038" y="3753"/>
                  </a:lnTo>
                  <a:lnTo>
                    <a:pt x="5012" y="3755"/>
                  </a:lnTo>
                  <a:lnTo>
                    <a:pt x="4985" y="3757"/>
                  </a:lnTo>
                  <a:lnTo>
                    <a:pt x="4957" y="3758"/>
                  </a:lnTo>
                  <a:lnTo>
                    <a:pt x="4930" y="3759"/>
                  </a:lnTo>
                  <a:lnTo>
                    <a:pt x="4898" y="3759"/>
                  </a:lnTo>
                  <a:lnTo>
                    <a:pt x="4864" y="3758"/>
                  </a:lnTo>
                  <a:lnTo>
                    <a:pt x="4829" y="3755"/>
                  </a:lnTo>
                  <a:lnTo>
                    <a:pt x="4793" y="3752"/>
                  </a:lnTo>
                  <a:lnTo>
                    <a:pt x="4756" y="3747"/>
                  </a:lnTo>
                  <a:lnTo>
                    <a:pt x="4718" y="3739"/>
                  </a:lnTo>
                  <a:lnTo>
                    <a:pt x="4679" y="3731"/>
                  </a:lnTo>
                  <a:lnTo>
                    <a:pt x="4640" y="3722"/>
                  </a:lnTo>
                  <a:lnTo>
                    <a:pt x="4600" y="3711"/>
                  </a:lnTo>
                  <a:lnTo>
                    <a:pt x="4560" y="3697"/>
                  </a:lnTo>
                  <a:lnTo>
                    <a:pt x="4520" y="3683"/>
                  </a:lnTo>
                  <a:lnTo>
                    <a:pt x="4481" y="3667"/>
                  </a:lnTo>
                  <a:lnTo>
                    <a:pt x="4441" y="3648"/>
                  </a:lnTo>
                  <a:lnTo>
                    <a:pt x="4402" y="3628"/>
                  </a:lnTo>
                  <a:lnTo>
                    <a:pt x="4364" y="3606"/>
                  </a:lnTo>
                  <a:lnTo>
                    <a:pt x="4326" y="3581"/>
                  </a:lnTo>
                  <a:lnTo>
                    <a:pt x="4290" y="3556"/>
                  </a:lnTo>
                  <a:lnTo>
                    <a:pt x="4254" y="3527"/>
                  </a:lnTo>
                  <a:lnTo>
                    <a:pt x="4220" y="3496"/>
                  </a:lnTo>
                  <a:lnTo>
                    <a:pt x="4187" y="3463"/>
                  </a:lnTo>
                  <a:lnTo>
                    <a:pt x="4157" y="3429"/>
                  </a:lnTo>
                  <a:lnTo>
                    <a:pt x="4127" y="3391"/>
                  </a:lnTo>
                  <a:lnTo>
                    <a:pt x="4100" y="3352"/>
                  </a:lnTo>
                  <a:lnTo>
                    <a:pt x="4074" y="3309"/>
                  </a:lnTo>
                  <a:lnTo>
                    <a:pt x="4052" y="3264"/>
                  </a:lnTo>
                  <a:lnTo>
                    <a:pt x="4031" y="3216"/>
                  </a:lnTo>
                  <a:lnTo>
                    <a:pt x="4014" y="3167"/>
                  </a:lnTo>
                  <a:lnTo>
                    <a:pt x="3999" y="3114"/>
                  </a:lnTo>
                  <a:lnTo>
                    <a:pt x="3987" y="3058"/>
                  </a:lnTo>
                  <a:lnTo>
                    <a:pt x="3979" y="3000"/>
                  </a:lnTo>
                  <a:lnTo>
                    <a:pt x="3974" y="2939"/>
                  </a:lnTo>
                  <a:lnTo>
                    <a:pt x="3972" y="2875"/>
                  </a:lnTo>
                  <a:lnTo>
                    <a:pt x="3973" y="2819"/>
                  </a:lnTo>
                  <a:lnTo>
                    <a:pt x="3977" y="2767"/>
                  </a:lnTo>
                  <a:lnTo>
                    <a:pt x="3984" y="2717"/>
                  </a:lnTo>
                  <a:lnTo>
                    <a:pt x="3994" y="2671"/>
                  </a:lnTo>
                  <a:lnTo>
                    <a:pt x="4007" y="2626"/>
                  </a:lnTo>
                  <a:lnTo>
                    <a:pt x="4022" y="2584"/>
                  </a:lnTo>
                  <a:lnTo>
                    <a:pt x="4038" y="2546"/>
                  </a:lnTo>
                  <a:lnTo>
                    <a:pt x="4059" y="2509"/>
                  </a:lnTo>
                  <a:lnTo>
                    <a:pt x="4080" y="2475"/>
                  </a:lnTo>
                  <a:lnTo>
                    <a:pt x="4103" y="2442"/>
                  </a:lnTo>
                  <a:lnTo>
                    <a:pt x="4129" y="2413"/>
                  </a:lnTo>
                  <a:lnTo>
                    <a:pt x="4157" y="2386"/>
                  </a:lnTo>
                  <a:lnTo>
                    <a:pt x="4185" y="2360"/>
                  </a:lnTo>
                  <a:lnTo>
                    <a:pt x="4216" y="2336"/>
                  </a:lnTo>
                  <a:lnTo>
                    <a:pt x="4248" y="2315"/>
                  </a:lnTo>
                  <a:lnTo>
                    <a:pt x="4281" y="2295"/>
                  </a:lnTo>
                  <a:lnTo>
                    <a:pt x="4316" y="2277"/>
                  </a:lnTo>
                  <a:lnTo>
                    <a:pt x="4352" y="2260"/>
                  </a:lnTo>
                  <a:lnTo>
                    <a:pt x="4388" y="2246"/>
                  </a:lnTo>
                  <a:lnTo>
                    <a:pt x="4426" y="2234"/>
                  </a:lnTo>
                  <a:lnTo>
                    <a:pt x="4464" y="2221"/>
                  </a:lnTo>
                  <a:lnTo>
                    <a:pt x="4503" y="2211"/>
                  </a:lnTo>
                  <a:lnTo>
                    <a:pt x="4543" y="2203"/>
                  </a:lnTo>
                  <a:lnTo>
                    <a:pt x="4583" y="2195"/>
                  </a:lnTo>
                  <a:lnTo>
                    <a:pt x="4623" y="2189"/>
                  </a:lnTo>
                  <a:lnTo>
                    <a:pt x="4664" y="2183"/>
                  </a:lnTo>
                  <a:lnTo>
                    <a:pt x="4704" y="2179"/>
                  </a:lnTo>
                  <a:lnTo>
                    <a:pt x="4745" y="2175"/>
                  </a:lnTo>
                  <a:lnTo>
                    <a:pt x="4786" y="2173"/>
                  </a:lnTo>
                  <a:lnTo>
                    <a:pt x="4826" y="2172"/>
                  </a:lnTo>
                  <a:lnTo>
                    <a:pt x="4866" y="2171"/>
                  </a:lnTo>
                  <a:lnTo>
                    <a:pt x="4906" y="2170"/>
                  </a:lnTo>
                  <a:lnTo>
                    <a:pt x="4949" y="2170"/>
                  </a:lnTo>
                  <a:lnTo>
                    <a:pt x="4995" y="2170"/>
                  </a:lnTo>
                  <a:lnTo>
                    <a:pt x="5045" y="2170"/>
                  </a:lnTo>
                  <a:lnTo>
                    <a:pt x="5095" y="2169"/>
                  </a:lnTo>
                  <a:lnTo>
                    <a:pt x="5146" y="2168"/>
                  </a:lnTo>
                  <a:lnTo>
                    <a:pt x="5200" y="2168"/>
                  </a:lnTo>
                  <a:lnTo>
                    <a:pt x="5252" y="2167"/>
                  </a:lnTo>
                  <a:lnTo>
                    <a:pt x="5304" y="2165"/>
                  </a:lnTo>
                  <a:lnTo>
                    <a:pt x="5354" y="2164"/>
                  </a:lnTo>
                  <a:lnTo>
                    <a:pt x="5403" y="2163"/>
                  </a:lnTo>
                  <a:lnTo>
                    <a:pt x="5450" y="2162"/>
                  </a:lnTo>
                  <a:lnTo>
                    <a:pt x="5494" y="2160"/>
                  </a:lnTo>
                  <a:lnTo>
                    <a:pt x="5535" y="2159"/>
                  </a:lnTo>
                  <a:lnTo>
                    <a:pt x="5571" y="2158"/>
                  </a:lnTo>
                  <a:lnTo>
                    <a:pt x="5602" y="2157"/>
                  </a:lnTo>
                  <a:lnTo>
                    <a:pt x="5629" y="2155"/>
                  </a:lnTo>
                  <a:lnTo>
                    <a:pt x="5663" y="2153"/>
                  </a:lnTo>
                  <a:lnTo>
                    <a:pt x="5695" y="2149"/>
                  </a:lnTo>
                  <a:lnTo>
                    <a:pt x="5709" y="2147"/>
                  </a:lnTo>
                  <a:lnTo>
                    <a:pt x="5724" y="2143"/>
                  </a:lnTo>
                  <a:lnTo>
                    <a:pt x="5738" y="2141"/>
                  </a:lnTo>
                  <a:lnTo>
                    <a:pt x="5751" y="2137"/>
                  </a:lnTo>
                  <a:lnTo>
                    <a:pt x="5765" y="2133"/>
                  </a:lnTo>
                  <a:lnTo>
                    <a:pt x="5777" y="2129"/>
                  </a:lnTo>
                  <a:lnTo>
                    <a:pt x="5788" y="2124"/>
                  </a:lnTo>
                  <a:lnTo>
                    <a:pt x="5800" y="2119"/>
                  </a:lnTo>
                  <a:lnTo>
                    <a:pt x="5810" y="2113"/>
                  </a:lnTo>
                  <a:lnTo>
                    <a:pt x="5820" y="2106"/>
                  </a:lnTo>
                  <a:lnTo>
                    <a:pt x="5829" y="2098"/>
                  </a:lnTo>
                  <a:lnTo>
                    <a:pt x="5839" y="2090"/>
                  </a:lnTo>
                  <a:lnTo>
                    <a:pt x="5847" y="2081"/>
                  </a:lnTo>
                  <a:lnTo>
                    <a:pt x="5854" y="2073"/>
                  </a:lnTo>
                  <a:lnTo>
                    <a:pt x="5861" y="2063"/>
                  </a:lnTo>
                  <a:lnTo>
                    <a:pt x="5868" y="2054"/>
                  </a:lnTo>
                  <a:lnTo>
                    <a:pt x="5873" y="2046"/>
                  </a:lnTo>
                  <a:lnTo>
                    <a:pt x="5879" y="2037"/>
                  </a:lnTo>
                  <a:lnTo>
                    <a:pt x="5884" y="2027"/>
                  </a:lnTo>
                  <a:lnTo>
                    <a:pt x="5889" y="2017"/>
                  </a:lnTo>
                  <a:lnTo>
                    <a:pt x="5896" y="1998"/>
                  </a:lnTo>
                  <a:lnTo>
                    <a:pt x="5902" y="1977"/>
                  </a:lnTo>
                  <a:lnTo>
                    <a:pt x="5906" y="1956"/>
                  </a:lnTo>
                  <a:lnTo>
                    <a:pt x="5911" y="1933"/>
                  </a:lnTo>
                  <a:lnTo>
                    <a:pt x="5916" y="1906"/>
                  </a:lnTo>
                  <a:lnTo>
                    <a:pt x="5919" y="1876"/>
                  </a:lnTo>
                  <a:lnTo>
                    <a:pt x="5921" y="1845"/>
                  </a:lnTo>
                  <a:lnTo>
                    <a:pt x="5923" y="1812"/>
                  </a:lnTo>
                  <a:lnTo>
                    <a:pt x="5924" y="1777"/>
                  </a:lnTo>
                  <a:lnTo>
                    <a:pt x="5924" y="1739"/>
                  </a:lnTo>
                  <a:lnTo>
                    <a:pt x="5924" y="1697"/>
                  </a:lnTo>
                  <a:lnTo>
                    <a:pt x="5925" y="1650"/>
                  </a:lnTo>
                  <a:lnTo>
                    <a:pt x="5925" y="1618"/>
                  </a:lnTo>
                  <a:lnTo>
                    <a:pt x="5925" y="1561"/>
                  </a:lnTo>
                  <a:lnTo>
                    <a:pt x="5925" y="1489"/>
                  </a:lnTo>
                  <a:lnTo>
                    <a:pt x="5925" y="1411"/>
                  </a:lnTo>
                  <a:lnTo>
                    <a:pt x="5925" y="1335"/>
                  </a:lnTo>
                  <a:lnTo>
                    <a:pt x="5925" y="1270"/>
                  </a:lnTo>
                  <a:lnTo>
                    <a:pt x="5925" y="1225"/>
                  </a:lnTo>
                  <a:lnTo>
                    <a:pt x="5925" y="1207"/>
                  </a:lnTo>
                  <a:lnTo>
                    <a:pt x="3982" y="1207"/>
                  </a:lnTo>
                  <a:lnTo>
                    <a:pt x="3982" y="1975"/>
                  </a:lnTo>
                  <a:lnTo>
                    <a:pt x="3248" y="1696"/>
                  </a:lnTo>
                  <a:lnTo>
                    <a:pt x="3248" y="1513"/>
                  </a:lnTo>
                  <a:lnTo>
                    <a:pt x="3599" y="1513"/>
                  </a:lnTo>
                  <a:lnTo>
                    <a:pt x="3599" y="1207"/>
                  </a:lnTo>
                  <a:lnTo>
                    <a:pt x="2290" y="1207"/>
                  </a:lnTo>
                  <a:lnTo>
                    <a:pt x="2290" y="569"/>
                  </a:lnTo>
                  <a:lnTo>
                    <a:pt x="1842" y="569"/>
                  </a:lnTo>
                  <a:lnTo>
                    <a:pt x="1819" y="570"/>
                  </a:lnTo>
                  <a:lnTo>
                    <a:pt x="1797" y="571"/>
                  </a:lnTo>
                  <a:lnTo>
                    <a:pt x="1774" y="573"/>
                  </a:lnTo>
                  <a:lnTo>
                    <a:pt x="1752" y="577"/>
                  </a:lnTo>
                  <a:lnTo>
                    <a:pt x="1729" y="581"/>
                  </a:lnTo>
                  <a:lnTo>
                    <a:pt x="1705" y="587"/>
                  </a:lnTo>
                  <a:lnTo>
                    <a:pt x="1683" y="593"/>
                  </a:lnTo>
                  <a:lnTo>
                    <a:pt x="1661" y="600"/>
                  </a:lnTo>
                  <a:lnTo>
                    <a:pt x="1639" y="609"/>
                  </a:lnTo>
                  <a:lnTo>
                    <a:pt x="1616" y="618"/>
                  </a:lnTo>
                  <a:lnTo>
                    <a:pt x="1594" y="629"/>
                  </a:lnTo>
                  <a:lnTo>
                    <a:pt x="1574" y="639"/>
                  </a:lnTo>
                  <a:lnTo>
                    <a:pt x="1552" y="651"/>
                  </a:lnTo>
                  <a:lnTo>
                    <a:pt x="1532" y="665"/>
                  </a:lnTo>
                  <a:lnTo>
                    <a:pt x="1512" y="678"/>
                  </a:lnTo>
                  <a:lnTo>
                    <a:pt x="1493" y="693"/>
                  </a:lnTo>
                  <a:lnTo>
                    <a:pt x="1474" y="710"/>
                  </a:lnTo>
                  <a:lnTo>
                    <a:pt x="1457" y="726"/>
                  </a:lnTo>
                  <a:lnTo>
                    <a:pt x="1439" y="743"/>
                  </a:lnTo>
                  <a:lnTo>
                    <a:pt x="1423" y="763"/>
                  </a:lnTo>
                  <a:lnTo>
                    <a:pt x="1408" y="782"/>
                  </a:lnTo>
                  <a:lnTo>
                    <a:pt x="1393" y="803"/>
                  </a:lnTo>
                  <a:lnTo>
                    <a:pt x="1379" y="825"/>
                  </a:lnTo>
                  <a:lnTo>
                    <a:pt x="1367" y="847"/>
                  </a:lnTo>
                  <a:lnTo>
                    <a:pt x="1355" y="871"/>
                  </a:lnTo>
                  <a:lnTo>
                    <a:pt x="1345" y="894"/>
                  </a:lnTo>
                  <a:lnTo>
                    <a:pt x="1336" y="920"/>
                  </a:lnTo>
                  <a:lnTo>
                    <a:pt x="1327" y="946"/>
                  </a:lnTo>
                  <a:lnTo>
                    <a:pt x="1320" y="973"/>
                  </a:lnTo>
                  <a:lnTo>
                    <a:pt x="1315" y="1001"/>
                  </a:lnTo>
                  <a:lnTo>
                    <a:pt x="1311" y="1031"/>
                  </a:lnTo>
                  <a:lnTo>
                    <a:pt x="1309" y="1060"/>
                  </a:lnTo>
                  <a:lnTo>
                    <a:pt x="1308" y="1089"/>
                  </a:lnTo>
                  <a:lnTo>
                    <a:pt x="1307" y="1118"/>
                  </a:lnTo>
                  <a:lnTo>
                    <a:pt x="1308" y="1147"/>
                  </a:lnTo>
                  <a:lnTo>
                    <a:pt x="1310" y="1174"/>
                  </a:lnTo>
                  <a:lnTo>
                    <a:pt x="1312" y="1202"/>
                  </a:lnTo>
                  <a:lnTo>
                    <a:pt x="1315" y="1229"/>
                  </a:lnTo>
                  <a:lnTo>
                    <a:pt x="1319" y="1255"/>
                  </a:lnTo>
                  <a:lnTo>
                    <a:pt x="1325" y="1280"/>
                  </a:lnTo>
                  <a:lnTo>
                    <a:pt x="1332" y="1306"/>
                  </a:lnTo>
                  <a:lnTo>
                    <a:pt x="1339" y="1330"/>
                  </a:lnTo>
                  <a:lnTo>
                    <a:pt x="1347" y="1355"/>
                  </a:lnTo>
                  <a:lnTo>
                    <a:pt x="1356" y="1377"/>
                  </a:lnTo>
                  <a:lnTo>
                    <a:pt x="1365" y="1400"/>
                  </a:lnTo>
                  <a:lnTo>
                    <a:pt x="1377" y="1421"/>
                  </a:lnTo>
                  <a:lnTo>
                    <a:pt x="1389" y="1443"/>
                  </a:lnTo>
                  <a:lnTo>
                    <a:pt x="1402" y="1462"/>
                  </a:lnTo>
                  <a:lnTo>
                    <a:pt x="1417" y="1482"/>
                  </a:lnTo>
                  <a:lnTo>
                    <a:pt x="1431" y="1499"/>
                  </a:lnTo>
                  <a:lnTo>
                    <a:pt x="1448" y="1517"/>
                  </a:lnTo>
                  <a:lnTo>
                    <a:pt x="1465" y="1533"/>
                  </a:lnTo>
                  <a:lnTo>
                    <a:pt x="1483" y="1548"/>
                  </a:lnTo>
                  <a:lnTo>
                    <a:pt x="1502" y="1562"/>
                  </a:lnTo>
                  <a:lnTo>
                    <a:pt x="1523" y="1574"/>
                  </a:lnTo>
                  <a:lnTo>
                    <a:pt x="1544" y="1587"/>
                  </a:lnTo>
                  <a:lnTo>
                    <a:pt x="1566" y="1597"/>
                  </a:lnTo>
                  <a:lnTo>
                    <a:pt x="1589" y="1606"/>
                  </a:lnTo>
                  <a:lnTo>
                    <a:pt x="1613" y="1614"/>
                  </a:lnTo>
                  <a:lnTo>
                    <a:pt x="1639" y="1620"/>
                  </a:lnTo>
                  <a:lnTo>
                    <a:pt x="1665" y="1626"/>
                  </a:lnTo>
                  <a:lnTo>
                    <a:pt x="1692" y="1629"/>
                  </a:lnTo>
                  <a:lnTo>
                    <a:pt x="1721" y="1632"/>
                  </a:lnTo>
                  <a:lnTo>
                    <a:pt x="1751" y="1632"/>
                  </a:lnTo>
                  <a:lnTo>
                    <a:pt x="1808" y="1632"/>
                  </a:lnTo>
                  <a:lnTo>
                    <a:pt x="1808" y="2004"/>
                  </a:lnTo>
                  <a:lnTo>
                    <a:pt x="1751" y="2004"/>
                  </a:lnTo>
                  <a:lnTo>
                    <a:pt x="1698" y="2003"/>
                  </a:lnTo>
                  <a:lnTo>
                    <a:pt x="1647" y="1999"/>
                  </a:lnTo>
                  <a:lnTo>
                    <a:pt x="1597" y="1993"/>
                  </a:lnTo>
                  <a:lnTo>
                    <a:pt x="1547" y="1984"/>
                  </a:lnTo>
                  <a:lnTo>
                    <a:pt x="1499" y="1974"/>
                  </a:lnTo>
                  <a:lnTo>
                    <a:pt x="1451" y="1961"/>
                  </a:lnTo>
                  <a:lnTo>
                    <a:pt x="1406" y="1947"/>
                  </a:lnTo>
                  <a:lnTo>
                    <a:pt x="1360" y="1929"/>
                  </a:lnTo>
                  <a:lnTo>
                    <a:pt x="1316" y="1911"/>
                  </a:lnTo>
                  <a:lnTo>
                    <a:pt x="1274" y="1889"/>
                  </a:lnTo>
                  <a:lnTo>
                    <a:pt x="1232" y="1867"/>
                  </a:lnTo>
                  <a:lnTo>
                    <a:pt x="1193" y="1841"/>
                  </a:lnTo>
                  <a:lnTo>
                    <a:pt x="1154" y="1814"/>
                  </a:lnTo>
                  <a:lnTo>
                    <a:pt x="1117" y="1786"/>
                  </a:lnTo>
                  <a:lnTo>
                    <a:pt x="1082" y="1756"/>
                  </a:lnTo>
                  <a:lnTo>
                    <a:pt x="1048" y="1724"/>
                  </a:lnTo>
                  <a:lnTo>
                    <a:pt x="1016" y="1690"/>
                  </a:lnTo>
                  <a:lnTo>
                    <a:pt x="986" y="1655"/>
                  </a:lnTo>
                  <a:lnTo>
                    <a:pt x="957" y="1618"/>
                  </a:lnTo>
                  <a:lnTo>
                    <a:pt x="930" y="1580"/>
                  </a:lnTo>
                  <a:lnTo>
                    <a:pt x="905" y="1540"/>
                  </a:lnTo>
                  <a:lnTo>
                    <a:pt x="882" y="1499"/>
                  </a:lnTo>
                  <a:lnTo>
                    <a:pt x="861" y="1457"/>
                  </a:lnTo>
                  <a:lnTo>
                    <a:pt x="842" y="1413"/>
                  </a:lnTo>
                  <a:lnTo>
                    <a:pt x="824" y="1368"/>
                  </a:lnTo>
                  <a:lnTo>
                    <a:pt x="810" y="1322"/>
                  </a:lnTo>
                  <a:lnTo>
                    <a:pt x="797" y="1276"/>
                  </a:lnTo>
                  <a:lnTo>
                    <a:pt x="786" y="1227"/>
                  </a:lnTo>
                  <a:lnTo>
                    <a:pt x="777" y="1178"/>
                  </a:lnTo>
                  <a:lnTo>
                    <a:pt x="772" y="1128"/>
                  </a:lnTo>
                  <a:lnTo>
                    <a:pt x="768" y="1077"/>
                  </a:lnTo>
                  <a:lnTo>
                    <a:pt x="767" y="1025"/>
                  </a:lnTo>
                  <a:lnTo>
                    <a:pt x="768" y="971"/>
                  </a:lnTo>
                  <a:lnTo>
                    <a:pt x="773" y="918"/>
                  </a:lnTo>
                  <a:lnTo>
                    <a:pt x="779" y="866"/>
                  </a:lnTo>
                  <a:lnTo>
                    <a:pt x="789" y="813"/>
                  </a:lnTo>
                  <a:lnTo>
                    <a:pt x="802" y="763"/>
                  </a:lnTo>
                  <a:lnTo>
                    <a:pt x="816" y="714"/>
                  </a:lnTo>
                  <a:lnTo>
                    <a:pt x="834" y="667"/>
                  </a:lnTo>
                  <a:lnTo>
                    <a:pt x="854" y="619"/>
                  </a:lnTo>
                  <a:lnTo>
                    <a:pt x="876" y="573"/>
                  </a:lnTo>
                  <a:lnTo>
                    <a:pt x="900" y="529"/>
                  </a:lnTo>
                  <a:lnTo>
                    <a:pt x="926" y="487"/>
                  </a:lnTo>
                  <a:lnTo>
                    <a:pt x="956" y="445"/>
                  </a:lnTo>
                  <a:lnTo>
                    <a:pt x="986" y="405"/>
                  </a:lnTo>
                  <a:lnTo>
                    <a:pt x="1018" y="366"/>
                  </a:lnTo>
                  <a:lnTo>
                    <a:pt x="1053" y="329"/>
                  </a:lnTo>
                  <a:lnTo>
                    <a:pt x="1090" y="294"/>
                  </a:lnTo>
                  <a:lnTo>
                    <a:pt x="1128" y="260"/>
                  </a:lnTo>
                  <a:lnTo>
                    <a:pt x="1167" y="229"/>
                  </a:lnTo>
                  <a:lnTo>
                    <a:pt x="1209" y="199"/>
                  </a:lnTo>
                  <a:lnTo>
                    <a:pt x="1253" y="171"/>
                  </a:lnTo>
                  <a:lnTo>
                    <a:pt x="1297" y="145"/>
                  </a:lnTo>
                  <a:lnTo>
                    <a:pt x="1343" y="121"/>
                  </a:lnTo>
                  <a:lnTo>
                    <a:pt x="1390" y="98"/>
                  </a:lnTo>
                  <a:lnTo>
                    <a:pt x="1438" y="78"/>
                  </a:lnTo>
                  <a:lnTo>
                    <a:pt x="1488" y="60"/>
                  </a:lnTo>
                  <a:lnTo>
                    <a:pt x="1539" y="45"/>
                  </a:lnTo>
                  <a:lnTo>
                    <a:pt x="1590" y="32"/>
                  </a:lnTo>
                  <a:lnTo>
                    <a:pt x="1644" y="20"/>
                  </a:lnTo>
                  <a:lnTo>
                    <a:pt x="1697" y="11"/>
                  </a:lnTo>
                  <a:lnTo>
                    <a:pt x="1752" y="5"/>
                  </a:lnTo>
                  <a:lnTo>
                    <a:pt x="1807" y="1"/>
                  </a:lnTo>
                  <a:lnTo>
                    <a:pt x="1862" y="0"/>
                  </a:lnTo>
                  <a:lnTo>
                    <a:pt x="2810" y="0"/>
                  </a:lnTo>
                  <a:lnTo>
                    <a:pt x="2810" y="638"/>
                  </a:lnTo>
                  <a:lnTo>
                    <a:pt x="6495" y="638"/>
                  </a:lnTo>
                  <a:lnTo>
                    <a:pt x="6495" y="646"/>
                  </a:lnTo>
                  <a:lnTo>
                    <a:pt x="6495" y="671"/>
                  </a:lnTo>
                  <a:lnTo>
                    <a:pt x="6495" y="710"/>
                  </a:lnTo>
                  <a:lnTo>
                    <a:pt x="6495" y="760"/>
                  </a:lnTo>
                  <a:lnTo>
                    <a:pt x="6495" y="820"/>
                  </a:lnTo>
                  <a:lnTo>
                    <a:pt x="6495" y="889"/>
                  </a:lnTo>
                  <a:lnTo>
                    <a:pt x="6495" y="963"/>
                  </a:lnTo>
                  <a:lnTo>
                    <a:pt x="6495" y="1042"/>
                  </a:lnTo>
                  <a:lnTo>
                    <a:pt x="6495" y="1122"/>
                  </a:lnTo>
                  <a:lnTo>
                    <a:pt x="6495" y="1203"/>
                  </a:lnTo>
                  <a:lnTo>
                    <a:pt x="6495" y="1282"/>
                  </a:lnTo>
                  <a:lnTo>
                    <a:pt x="6495" y="1357"/>
                  </a:lnTo>
                  <a:lnTo>
                    <a:pt x="6495" y="1427"/>
                  </a:lnTo>
                  <a:lnTo>
                    <a:pt x="6495" y="1488"/>
                  </a:lnTo>
                  <a:lnTo>
                    <a:pt x="6495" y="1540"/>
                  </a:lnTo>
                  <a:lnTo>
                    <a:pt x="6495" y="1580"/>
                  </a:lnTo>
                  <a:lnTo>
                    <a:pt x="6494" y="1643"/>
                  </a:lnTo>
                  <a:lnTo>
                    <a:pt x="6493" y="1708"/>
                  </a:lnTo>
                  <a:lnTo>
                    <a:pt x="6491" y="1775"/>
                  </a:lnTo>
                  <a:lnTo>
                    <a:pt x="6488" y="1843"/>
                  </a:lnTo>
                  <a:lnTo>
                    <a:pt x="6484" y="1910"/>
                  </a:lnTo>
                  <a:lnTo>
                    <a:pt x="6480" y="1974"/>
                  </a:lnTo>
                  <a:lnTo>
                    <a:pt x="6475" y="2034"/>
                  </a:lnTo>
                  <a:lnTo>
                    <a:pt x="6470" y="2088"/>
                  </a:lnTo>
                  <a:lnTo>
                    <a:pt x="6468" y="2107"/>
                  </a:lnTo>
                  <a:lnTo>
                    <a:pt x="6465" y="2128"/>
                  </a:lnTo>
                  <a:lnTo>
                    <a:pt x="6460" y="2151"/>
                  </a:lnTo>
                  <a:lnTo>
                    <a:pt x="6456" y="2174"/>
                  </a:lnTo>
                  <a:lnTo>
                    <a:pt x="6449" y="2199"/>
                  </a:lnTo>
                  <a:lnTo>
                    <a:pt x="6441" y="2226"/>
                  </a:lnTo>
                  <a:lnTo>
                    <a:pt x="6431" y="2252"/>
                  </a:lnTo>
                  <a:lnTo>
                    <a:pt x="6420" y="2280"/>
                  </a:lnTo>
                  <a:lnTo>
                    <a:pt x="6406" y="2308"/>
                  </a:lnTo>
                  <a:lnTo>
                    <a:pt x="6390" y="2336"/>
                  </a:lnTo>
                  <a:lnTo>
                    <a:pt x="6382" y="2351"/>
                  </a:lnTo>
                  <a:lnTo>
                    <a:pt x="6371" y="2365"/>
                  </a:lnTo>
                  <a:lnTo>
                    <a:pt x="6362" y="2378"/>
                  </a:lnTo>
                  <a:lnTo>
                    <a:pt x="6351" y="2393"/>
                  </a:lnTo>
                  <a:lnTo>
                    <a:pt x="6340" y="2407"/>
                  </a:lnTo>
                  <a:lnTo>
                    <a:pt x="6327" y="2421"/>
                  </a:lnTo>
                  <a:lnTo>
                    <a:pt x="6315" y="2436"/>
                  </a:lnTo>
                  <a:lnTo>
                    <a:pt x="6301" y="2450"/>
                  </a:lnTo>
                  <a:lnTo>
                    <a:pt x="6286" y="2463"/>
                  </a:lnTo>
                  <a:lnTo>
                    <a:pt x="6271" y="2478"/>
                  </a:lnTo>
                  <a:lnTo>
                    <a:pt x="6254" y="2491"/>
                  </a:lnTo>
                  <a:lnTo>
                    <a:pt x="6238" y="2504"/>
                  </a:lnTo>
                  <a:lnTo>
                    <a:pt x="6216" y="2520"/>
                  </a:lnTo>
                  <a:lnTo>
                    <a:pt x="6193" y="2534"/>
                  </a:lnTo>
                  <a:lnTo>
                    <a:pt x="6168" y="2547"/>
                  </a:lnTo>
                  <a:lnTo>
                    <a:pt x="6143" y="2559"/>
                  </a:lnTo>
                  <a:lnTo>
                    <a:pt x="6115" y="2570"/>
                  </a:lnTo>
                  <a:lnTo>
                    <a:pt x="6085" y="2579"/>
                  </a:lnTo>
                  <a:lnTo>
                    <a:pt x="6054" y="2589"/>
                  </a:lnTo>
                  <a:lnTo>
                    <a:pt x="6021" y="2596"/>
                  </a:lnTo>
                  <a:lnTo>
                    <a:pt x="5985" y="2603"/>
                  </a:lnTo>
                  <a:lnTo>
                    <a:pt x="5949" y="2609"/>
                  </a:lnTo>
                  <a:lnTo>
                    <a:pt x="5910" y="2614"/>
                  </a:lnTo>
                  <a:lnTo>
                    <a:pt x="5869" y="2617"/>
                  </a:lnTo>
                  <a:lnTo>
                    <a:pt x="5825" y="2621"/>
                  </a:lnTo>
                  <a:lnTo>
                    <a:pt x="5780" y="2623"/>
                  </a:lnTo>
                  <a:lnTo>
                    <a:pt x="5732" y="2624"/>
                  </a:lnTo>
                  <a:lnTo>
                    <a:pt x="5681" y="2626"/>
                  </a:lnTo>
                  <a:lnTo>
                    <a:pt x="5640" y="2626"/>
                  </a:lnTo>
                  <a:lnTo>
                    <a:pt x="5584" y="2624"/>
                  </a:lnTo>
                  <a:lnTo>
                    <a:pt x="5515" y="2623"/>
                  </a:lnTo>
                  <a:lnTo>
                    <a:pt x="5434" y="2620"/>
                  </a:lnTo>
                  <a:lnTo>
                    <a:pt x="5342" y="2618"/>
                  </a:lnTo>
                  <a:lnTo>
                    <a:pt x="5241" y="2614"/>
                  </a:lnTo>
                  <a:lnTo>
                    <a:pt x="5132" y="2608"/>
                  </a:lnTo>
                  <a:lnTo>
                    <a:pt x="5018" y="2602"/>
                  </a:lnTo>
                  <a:lnTo>
                    <a:pt x="4979" y="2600"/>
                  </a:lnTo>
                  <a:lnTo>
                    <a:pt x="4942" y="2599"/>
                  </a:lnTo>
                  <a:lnTo>
                    <a:pt x="4907" y="2600"/>
                  </a:lnTo>
                  <a:lnTo>
                    <a:pt x="4874" y="2601"/>
                  </a:lnTo>
                  <a:lnTo>
                    <a:pt x="4842" y="2603"/>
                  </a:lnTo>
                  <a:lnTo>
                    <a:pt x="4812" y="2606"/>
                  </a:lnTo>
                  <a:lnTo>
                    <a:pt x="4783" y="2610"/>
                  </a:lnTo>
                  <a:lnTo>
                    <a:pt x="4756" y="2614"/>
                  </a:lnTo>
                  <a:lnTo>
                    <a:pt x="4731" y="2620"/>
                  </a:lnTo>
                  <a:lnTo>
                    <a:pt x="4706" y="2627"/>
                  </a:lnTo>
                  <a:lnTo>
                    <a:pt x="4683" y="2634"/>
                  </a:lnTo>
                  <a:lnTo>
                    <a:pt x="4662" y="2641"/>
                  </a:lnTo>
                  <a:lnTo>
                    <a:pt x="4642" y="2650"/>
                  </a:lnTo>
                  <a:lnTo>
                    <a:pt x="4623" y="2658"/>
                  </a:lnTo>
                  <a:lnTo>
                    <a:pt x="4605" y="2669"/>
                  </a:lnTo>
                  <a:lnTo>
                    <a:pt x="4589" y="2679"/>
                  </a:lnTo>
                  <a:lnTo>
                    <a:pt x="4573" y="2689"/>
                  </a:lnTo>
                  <a:lnTo>
                    <a:pt x="4560" y="2700"/>
                  </a:lnTo>
                  <a:lnTo>
                    <a:pt x="4547" y="2713"/>
                  </a:lnTo>
                  <a:lnTo>
                    <a:pt x="4534" y="2724"/>
                  </a:lnTo>
                  <a:lnTo>
                    <a:pt x="4524" y="2737"/>
                  </a:lnTo>
                  <a:lnTo>
                    <a:pt x="4514" y="2750"/>
                  </a:lnTo>
                  <a:lnTo>
                    <a:pt x="4505" y="2763"/>
                  </a:lnTo>
                  <a:lnTo>
                    <a:pt x="4497" y="2775"/>
                  </a:lnTo>
                  <a:lnTo>
                    <a:pt x="4490" y="2790"/>
                  </a:lnTo>
                  <a:lnTo>
                    <a:pt x="4484" y="2803"/>
                  </a:lnTo>
                  <a:lnTo>
                    <a:pt x="4478" y="2817"/>
                  </a:lnTo>
                  <a:lnTo>
                    <a:pt x="4474" y="2831"/>
                  </a:lnTo>
                  <a:lnTo>
                    <a:pt x="4470" y="2845"/>
                  </a:lnTo>
                  <a:lnTo>
                    <a:pt x="4467" y="2859"/>
                  </a:lnTo>
                  <a:lnTo>
                    <a:pt x="4464" y="2874"/>
                  </a:lnTo>
                  <a:lnTo>
                    <a:pt x="4463" y="2887"/>
                  </a:lnTo>
                  <a:lnTo>
                    <a:pt x="4460" y="2911"/>
                  </a:lnTo>
                  <a:lnTo>
                    <a:pt x="4459" y="2934"/>
                  </a:lnTo>
                  <a:lnTo>
                    <a:pt x="4460" y="2958"/>
                  </a:lnTo>
                  <a:lnTo>
                    <a:pt x="4463" y="2979"/>
                  </a:lnTo>
                  <a:lnTo>
                    <a:pt x="4500" y="2952"/>
                  </a:lnTo>
                  <a:lnTo>
                    <a:pt x="4540" y="2925"/>
                  </a:lnTo>
                  <a:lnTo>
                    <a:pt x="4560" y="2913"/>
                  </a:lnTo>
                  <a:lnTo>
                    <a:pt x="4581" y="2900"/>
                  </a:lnTo>
                  <a:lnTo>
                    <a:pt x="4602" y="2888"/>
                  </a:lnTo>
                  <a:lnTo>
                    <a:pt x="4624" y="2877"/>
                  </a:lnTo>
                  <a:lnTo>
                    <a:pt x="4646" y="2866"/>
                  </a:lnTo>
                  <a:lnTo>
                    <a:pt x="4669" y="2855"/>
                  </a:lnTo>
                  <a:lnTo>
                    <a:pt x="4692" y="2845"/>
                  </a:lnTo>
                  <a:lnTo>
                    <a:pt x="4715" y="2836"/>
                  </a:lnTo>
                  <a:lnTo>
                    <a:pt x="4739" y="2828"/>
                  </a:lnTo>
                  <a:lnTo>
                    <a:pt x="4763" y="2819"/>
                  </a:lnTo>
                  <a:lnTo>
                    <a:pt x="4788" y="2812"/>
                  </a:lnTo>
                  <a:lnTo>
                    <a:pt x="4813" y="2805"/>
                  </a:lnTo>
                  <a:lnTo>
                    <a:pt x="4837" y="2800"/>
                  </a:lnTo>
                  <a:lnTo>
                    <a:pt x="4863" y="2795"/>
                  </a:lnTo>
                  <a:lnTo>
                    <a:pt x="4889" y="2791"/>
                  </a:lnTo>
                  <a:lnTo>
                    <a:pt x="4915" y="2787"/>
                  </a:lnTo>
                  <a:lnTo>
                    <a:pt x="4942" y="2784"/>
                  </a:lnTo>
                  <a:lnTo>
                    <a:pt x="4969" y="2782"/>
                  </a:lnTo>
                  <a:lnTo>
                    <a:pt x="4995" y="2781"/>
                  </a:lnTo>
                  <a:lnTo>
                    <a:pt x="5023" y="2781"/>
                  </a:lnTo>
                  <a:lnTo>
                    <a:pt x="5051" y="2782"/>
                  </a:lnTo>
                  <a:lnTo>
                    <a:pt x="5080" y="2784"/>
                  </a:lnTo>
                  <a:lnTo>
                    <a:pt x="5107" y="2788"/>
                  </a:lnTo>
                  <a:lnTo>
                    <a:pt x="5136" y="2792"/>
                  </a:lnTo>
                  <a:lnTo>
                    <a:pt x="5165" y="2797"/>
                  </a:lnTo>
                  <a:lnTo>
                    <a:pt x="5194" y="2803"/>
                  </a:lnTo>
                  <a:lnTo>
                    <a:pt x="5223" y="2811"/>
                  </a:lnTo>
                  <a:lnTo>
                    <a:pt x="5253" y="2819"/>
                  </a:lnTo>
                  <a:lnTo>
                    <a:pt x="5352" y="2850"/>
                  </a:lnTo>
                  <a:lnTo>
                    <a:pt x="5443" y="2878"/>
                  </a:lnTo>
                  <a:lnTo>
                    <a:pt x="5486" y="2889"/>
                  </a:lnTo>
                  <a:lnTo>
                    <a:pt x="5526" y="2900"/>
                  </a:lnTo>
                  <a:lnTo>
                    <a:pt x="5565" y="2911"/>
                  </a:lnTo>
                  <a:lnTo>
                    <a:pt x="5603" y="2919"/>
                  </a:lnTo>
                  <a:lnTo>
                    <a:pt x="5639" y="2927"/>
                  </a:lnTo>
                  <a:lnTo>
                    <a:pt x="5673" y="2934"/>
                  </a:lnTo>
                  <a:lnTo>
                    <a:pt x="5706" y="2940"/>
                  </a:lnTo>
                  <a:lnTo>
                    <a:pt x="5738" y="2944"/>
                  </a:lnTo>
                  <a:lnTo>
                    <a:pt x="5769" y="2949"/>
                  </a:lnTo>
                  <a:lnTo>
                    <a:pt x="5798" y="2951"/>
                  </a:lnTo>
                  <a:lnTo>
                    <a:pt x="5826" y="2952"/>
                  </a:lnTo>
                  <a:lnTo>
                    <a:pt x="5855" y="2952"/>
                  </a:lnTo>
                  <a:lnTo>
                    <a:pt x="5882" y="2951"/>
                  </a:lnTo>
                  <a:lnTo>
                    <a:pt x="5907" y="2949"/>
                  </a:lnTo>
                  <a:lnTo>
                    <a:pt x="5933" y="2944"/>
                  </a:lnTo>
                  <a:lnTo>
                    <a:pt x="5959" y="2940"/>
                  </a:lnTo>
                  <a:lnTo>
                    <a:pt x="5982" y="2934"/>
                  </a:lnTo>
                  <a:lnTo>
                    <a:pt x="6007" y="2927"/>
                  </a:lnTo>
                  <a:lnTo>
                    <a:pt x="6032" y="2919"/>
                  </a:lnTo>
                  <a:lnTo>
                    <a:pt x="6056" y="2909"/>
                  </a:lnTo>
                  <a:lnTo>
                    <a:pt x="6080" y="2897"/>
                  </a:lnTo>
                  <a:lnTo>
                    <a:pt x="6103" y="2885"/>
                  </a:lnTo>
                  <a:lnTo>
                    <a:pt x="6128" y="2872"/>
                  </a:lnTo>
                  <a:lnTo>
                    <a:pt x="6153" y="2856"/>
                  </a:lnTo>
                  <a:lnTo>
                    <a:pt x="6178" y="2840"/>
                  </a:lnTo>
                  <a:lnTo>
                    <a:pt x="6204" y="2822"/>
                  </a:lnTo>
                  <a:lnTo>
                    <a:pt x="6230" y="2803"/>
                  </a:lnTo>
                  <a:lnTo>
                    <a:pt x="6256" y="2782"/>
                  </a:lnTo>
                  <a:lnTo>
                    <a:pt x="6286" y="2847"/>
                  </a:lnTo>
                  <a:lnTo>
                    <a:pt x="6273" y="2867"/>
                  </a:lnTo>
                  <a:lnTo>
                    <a:pt x="6258" y="2887"/>
                  </a:lnTo>
                  <a:lnTo>
                    <a:pt x="6240" y="2910"/>
                  </a:lnTo>
                  <a:lnTo>
                    <a:pt x="6221" y="2932"/>
                  </a:lnTo>
                  <a:lnTo>
                    <a:pt x="6199" y="2956"/>
                  </a:lnTo>
                  <a:lnTo>
                    <a:pt x="6174" y="2979"/>
                  </a:lnTo>
                  <a:lnTo>
                    <a:pt x="6148" y="3003"/>
                  </a:lnTo>
                  <a:lnTo>
                    <a:pt x="6118" y="3027"/>
                  </a:lnTo>
                  <a:lnTo>
                    <a:pt x="6387" y="3027"/>
                  </a:lnTo>
                  <a:lnTo>
                    <a:pt x="6387" y="4479"/>
                  </a:lnTo>
                  <a:lnTo>
                    <a:pt x="7223" y="3978"/>
                  </a:lnTo>
                  <a:lnTo>
                    <a:pt x="9568" y="3978"/>
                  </a:lnTo>
                  <a:lnTo>
                    <a:pt x="9579" y="3984"/>
                  </a:lnTo>
                  <a:lnTo>
                    <a:pt x="9611" y="4001"/>
                  </a:lnTo>
                  <a:lnTo>
                    <a:pt x="9661" y="4028"/>
                  </a:lnTo>
                  <a:lnTo>
                    <a:pt x="9725" y="4061"/>
                  </a:lnTo>
                  <a:lnTo>
                    <a:pt x="9803" y="4101"/>
                  </a:lnTo>
                  <a:lnTo>
                    <a:pt x="9891" y="4148"/>
                  </a:lnTo>
                  <a:lnTo>
                    <a:pt x="9985" y="4197"/>
                  </a:lnTo>
                  <a:lnTo>
                    <a:pt x="10085" y="4248"/>
                  </a:lnTo>
                  <a:lnTo>
                    <a:pt x="10185" y="4301"/>
                  </a:lnTo>
                  <a:lnTo>
                    <a:pt x="10286" y="4354"/>
                  </a:lnTo>
                  <a:lnTo>
                    <a:pt x="10382" y="4404"/>
                  </a:lnTo>
                  <a:lnTo>
                    <a:pt x="10474" y="4451"/>
                  </a:lnTo>
                  <a:lnTo>
                    <a:pt x="10556" y="4494"/>
                  </a:lnTo>
                  <a:lnTo>
                    <a:pt x="10627" y="4531"/>
                  </a:lnTo>
                  <a:lnTo>
                    <a:pt x="10683" y="4561"/>
                  </a:lnTo>
                  <a:lnTo>
                    <a:pt x="10723" y="4581"/>
                  </a:lnTo>
                  <a:lnTo>
                    <a:pt x="10749" y="4596"/>
                  </a:lnTo>
                  <a:lnTo>
                    <a:pt x="10773" y="4611"/>
                  </a:lnTo>
                  <a:lnTo>
                    <a:pt x="10795" y="4627"/>
                  </a:lnTo>
                  <a:lnTo>
                    <a:pt x="10816" y="4642"/>
                  </a:lnTo>
                  <a:lnTo>
                    <a:pt x="10834" y="4658"/>
                  </a:lnTo>
                  <a:lnTo>
                    <a:pt x="10851" y="4675"/>
                  </a:lnTo>
                  <a:lnTo>
                    <a:pt x="10866" y="4692"/>
                  </a:lnTo>
                  <a:lnTo>
                    <a:pt x="10881" y="4711"/>
                  </a:lnTo>
                  <a:lnTo>
                    <a:pt x="10893" y="4729"/>
                  </a:lnTo>
                  <a:lnTo>
                    <a:pt x="10903" y="4749"/>
                  </a:lnTo>
                  <a:lnTo>
                    <a:pt x="10913" y="4769"/>
                  </a:lnTo>
                  <a:lnTo>
                    <a:pt x="10922" y="4790"/>
                  </a:lnTo>
                  <a:lnTo>
                    <a:pt x="10930" y="4812"/>
                  </a:lnTo>
                  <a:lnTo>
                    <a:pt x="10936" y="4835"/>
                  </a:lnTo>
                  <a:lnTo>
                    <a:pt x="10941" y="4858"/>
                  </a:lnTo>
                  <a:lnTo>
                    <a:pt x="10946" y="4883"/>
                  </a:lnTo>
                  <a:lnTo>
                    <a:pt x="10949" y="4904"/>
                  </a:lnTo>
                  <a:lnTo>
                    <a:pt x="10951" y="4926"/>
                  </a:lnTo>
                  <a:lnTo>
                    <a:pt x="10951" y="4949"/>
                  </a:lnTo>
                  <a:lnTo>
                    <a:pt x="10951" y="4971"/>
                  </a:lnTo>
                  <a:lnTo>
                    <a:pt x="10950" y="4995"/>
                  </a:lnTo>
                  <a:lnTo>
                    <a:pt x="10948" y="5017"/>
                  </a:lnTo>
                  <a:lnTo>
                    <a:pt x="10945" y="5041"/>
                  </a:lnTo>
                  <a:lnTo>
                    <a:pt x="10941" y="5063"/>
                  </a:lnTo>
                  <a:lnTo>
                    <a:pt x="10936" y="5086"/>
                  </a:lnTo>
                  <a:lnTo>
                    <a:pt x="10931" y="5109"/>
                  </a:lnTo>
                  <a:lnTo>
                    <a:pt x="10924" y="5130"/>
                  </a:lnTo>
                  <a:lnTo>
                    <a:pt x="10916" y="5152"/>
                  </a:lnTo>
                  <a:lnTo>
                    <a:pt x="10908" y="5172"/>
                  </a:lnTo>
                  <a:lnTo>
                    <a:pt x="10900" y="5192"/>
                  </a:lnTo>
                  <a:lnTo>
                    <a:pt x="10891" y="5210"/>
                  </a:lnTo>
                  <a:lnTo>
                    <a:pt x="10881" y="5228"/>
                  </a:lnTo>
                  <a:lnTo>
                    <a:pt x="10871" y="5243"/>
                  </a:lnTo>
                  <a:lnTo>
                    <a:pt x="10858" y="5266"/>
                  </a:lnTo>
                  <a:lnTo>
                    <a:pt x="10838" y="5296"/>
                  </a:lnTo>
                  <a:lnTo>
                    <a:pt x="10817" y="5333"/>
                  </a:lnTo>
                  <a:lnTo>
                    <a:pt x="10790" y="5376"/>
                  </a:lnTo>
                  <a:lnTo>
                    <a:pt x="10761" y="5423"/>
                  </a:lnTo>
                  <a:lnTo>
                    <a:pt x="10731" y="5474"/>
                  </a:lnTo>
                  <a:lnTo>
                    <a:pt x="10698" y="5528"/>
                  </a:lnTo>
                  <a:lnTo>
                    <a:pt x="10664" y="5583"/>
                  </a:lnTo>
                  <a:lnTo>
                    <a:pt x="10629" y="5641"/>
                  </a:lnTo>
                  <a:lnTo>
                    <a:pt x="10594" y="5698"/>
                  </a:lnTo>
                  <a:lnTo>
                    <a:pt x="10559" y="5756"/>
                  </a:lnTo>
                  <a:lnTo>
                    <a:pt x="10525" y="5811"/>
                  </a:lnTo>
                  <a:lnTo>
                    <a:pt x="10493" y="5864"/>
                  </a:lnTo>
                  <a:lnTo>
                    <a:pt x="10463" y="5915"/>
                  </a:lnTo>
                  <a:lnTo>
                    <a:pt x="10435" y="5961"/>
                  </a:lnTo>
                  <a:lnTo>
                    <a:pt x="10471" y="6003"/>
                  </a:lnTo>
                  <a:lnTo>
                    <a:pt x="10508" y="6044"/>
                  </a:lnTo>
                  <a:lnTo>
                    <a:pt x="10543" y="6087"/>
                  </a:lnTo>
                  <a:lnTo>
                    <a:pt x="10578" y="6131"/>
                  </a:lnTo>
                  <a:lnTo>
                    <a:pt x="10610" y="6176"/>
                  </a:lnTo>
                  <a:lnTo>
                    <a:pt x="10643" y="6221"/>
                  </a:lnTo>
                  <a:lnTo>
                    <a:pt x="10675" y="6269"/>
                  </a:lnTo>
                  <a:lnTo>
                    <a:pt x="10707" y="6316"/>
                  </a:lnTo>
                  <a:lnTo>
                    <a:pt x="10737" y="6364"/>
                  </a:lnTo>
                  <a:lnTo>
                    <a:pt x="10765" y="6413"/>
                  </a:lnTo>
                  <a:lnTo>
                    <a:pt x="10793" y="6462"/>
                  </a:lnTo>
                  <a:lnTo>
                    <a:pt x="10821" y="6514"/>
                  </a:lnTo>
                  <a:lnTo>
                    <a:pt x="10847" y="6565"/>
                  </a:lnTo>
                  <a:lnTo>
                    <a:pt x="10871" y="6617"/>
                  </a:lnTo>
                  <a:lnTo>
                    <a:pt x="10895" y="6671"/>
                  </a:lnTo>
                  <a:lnTo>
                    <a:pt x="10917" y="6724"/>
                  </a:lnTo>
                  <a:lnTo>
                    <a:pt x="10939" y="6778"/>
                  </a:lnTo>
                  <a:lnTo>
                    <a:pt x="10960" y="6834"/>
                  </a:lnTo>
                  <a:lnTo>
                    <a:pt x="10978" y="6890"/>
                  </a:lnTo>
                  <a:lnTo>
                    <a:pt x="10996" y="6946"/>
                  </a:lnTo>
                  <a:lnTo>
                    <a:pt x="11012" y="7003"/>
                  </a:lnTo>
                  <a:lnTo>
                    <a:pt x="11027" y="7061"/>
                  </a:lnTo>
                  <a:lnTo>
                    <a:pt x="11042" y="7119"/>
                  </a:lnTo>
                  <a:lnTo>
                    <a:pt x="11054" y="7178"/>
                  </a:lnTo>
                  <a:lnTo>
                    <a:pt x="11065" y="7238"/>
                  </a:lnTo>
                  <a:lnTo>
                    <a:pt x="11075" y="7297"/>
                  </a:lnTo>
                  <a:lnTo>
                    <a:pt x="11083" y="7358"/>
                  </a:lnTo>
                  <a:lnTo>
                    <a:pt x="11090" y="7418"/>
                  </a:lnTo>
                  <a:lnTo>
                    <a:pt x="11095" y="7480"/>
                  </a:lnTo>
                  <a:lnTo>
                    <a:pt x="11099" y="7542"/>
                  </a:lnTo>
                  <a:lnTo>
                    <a:pt x="11101" y="7604"/>
                  </a:lnTo>
                  <a:lnTo>
                    <a:pt x="11102" y="7667"/>
                  </a:lnTo>
                  <a:lnTo>
                    <a:pt x="11101" y="7725"/>
                  </a:lnTo>
                  <a:lnTo>
                    <a:pt x="11099" y="7783"/>
                  </a:lnTo>
                  <a:lnTo>
                    <a:pt x="11096" y="7843"/>
                  </a:lnTo>
                  <a:lnTo>
                    <a:pt x="11091" y="7903"/>
                  </a:lnTo>
                  <a:lnTo>
                    <a:pt x="11085" y="7964"/>
                  </a:lnTo>
                  <a:lnTo>
                    <a:pt x="11077" y="8025"/>
                  </a:lnTo>
                  <a:lnTo>
                    <a:pt x="11066" y="8088"/>
                  </a:lnTo>
                  <a:lnTo>
                    <a:pt x="11055" y="8151"/>
                  </a:lnTo>
                  <a:lnTo>
                    <a:pt x="11042" y="8214"/>
                  </a:lnTo>
                  <a:lnTo>
                    <a:pt x="11027" y="8278"/>
                  </a:lnTo>
                  <a:lnTo>
                    <a:pt x="11011" y="8342"/>
                  </a:lnTo>
                  <a:lnTo>
                    <a:pt x="10992" y="8406"/>
                  </a:lnTo>
                  <a:lnTo>
                    <a:pt x="10971" y="8472"/>
                  </a:lnTo>
                  <a:lnTo>
                    <a:pt x="10949" y="8536"/>
                  </a:lnTo>
                  <a:lnTo>
                    <a:pt x="10925" y="8601"/>
                  </a:lnTo>
                  <a:lnTo>
                    <a:pt x="10898" y="8665"/>
                  </a:lnTo>
                  <a:lnTo>
                    <a:pt x="10869" y="8730"/>
                  </a:lnTo>
                  <a:lnTo>
                    <a:pt x="10838" y="8795"/>
                  </a:lnTo>
                  <a:lnTo>
                    <a:pt x="10805" y="8859"/>
                  </a:lnTo>
                  <a:lnTo>
                    <a:pt x="10770" y="8923"/>
                  </a:lnTo>
                  <a:lnTo>
                    <a:pt x="10732" y="8986"/>
                  </a:lnTo>
                  <a:lnTo>
                    <a:pt x="10691" y="9050"/>
                  </a:lnTo>
                  <a:lnTo>
                    <a:pt x="10648" y="9113"/>
                  </a:lnTo>
                  <a:lnTo>
                    <a:pt x="10603" y="9175"/>
                  </a:lnTo>
                  <a:lnTo>
                    <a:pt x="10555" y="9237"/>
                  </a:lnTo>
                  <a:lnTo>
                    <a:pt x="10505" y="9297"/>
                  </a:lnTo>
                  <a:lnTo>
                    <a:pt x="10451" y="9358"/>
                  </a:lnTo>
                  <a:lnTo>
                    <a:pt x="10396" y="9417"/>
                  </a:lnTo>
                  <a:lnTo>
                    <a:pt x="10337" y="9476"/>
                  </a:lnTo>
                  <a:lnTo>
                    <a:pt x="10276" y="9532"/>
                  </a:lnTo>
                  <a:lnTo>
                    <a:pt x="10212" y="9588"/>
                  </a:lnTo>
                  <a:lnTo>
                    <a:pt x="10144" y="9644"/>
                  </a:lnTo>
                  <a:lnTo>
                    <a:pt x="10174" y="9654"/>
                  </a:lnTo>
                  <a:lnTo>
                    <a:pt x="10204" y="9665"/>
                  </a:lnTo>
                  <a:lnTo>
                    <a:pt x="10232" y="9676"/>
                  </a:lnTo>
                  <a:lnTo>
                    <a:pt x="10260" y="9687"/>
                  </a:lnTo>
                  <a:lnTo>
                    <a:pt x="10287" y="9699"/>
                  </a:lnTo>
                  <a:lnTo>
                    <a:pt x="10314" y="9711"/>
                  </a:lnTo>
                  <a:lnTo>
                    <a:pt x="10340" y="9724"/>
                  </a:lnTo>
                  <a:lnTo>
                    <a:pt x="10365" y="9736"/>
                  </a:lnTo>
                  <a:lnTo>
                    <a:pt x="10391" y="9750"/>
                  </a:lnTo>
                  <a:lnTo>
                    <a:pt x="10414" y="9763"/>
                  </a:lnTo>
                  <a:lnTo>
                    <a:pt x="10438" y="9777"/>
                  </a:lnTo>
                  <a:lnTo>
                    <a:pt x="10462" y="9792"/>
                  </a:lnTo>
                  <a:lnTo>
                    <a:pt x="10484" y="9806"/>
                  </a:lnTo>
                  <a:lnTo>
                    <a:pt x="10507" y="9821"/>
                  </a:lnTo>
                  <a:lnTo>
                    <a:pt x="10528" y="9837"/>
                  </a:lnTo>
                  <a:lnTo>
                    <a:pt x="10550" y="9853"/>
                  </a:lnTo>
                  <a:lnTo>
                    <a:pt x="10591" y="9886"/>
                  </a:lnTo>
                  <a:lnTo>
                    <a:pt x="10630" y="9920"/>
                  </a:lnTo>
                  <a:lnTo>
                    <a:pt x="10668" y="9956"/>
                  </a:lnTo>
                  <a:lnTo>
                    <a:pt x="10704" y="9993"/>
                  </a:lnTo>
                  <a:lnTo>
                    <a:pt x="10739" y="10032"/>
                  </a:lnTo>
                  <a:lnTo>
                    <a:pt x="10772" y="10072"/>
                  </a:lnTo>
                  <a:lnTo>
                    <a:pt x="10803" y="10113"/>
                  </a:lnTo>
                  <a:lnTo>
                    <a:pt x="10834" y="10156"/>
                  </a:lnTo>
                  <a:lnTo>
                    <a:pt x="10607" y="10929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2337" y="2255"/>
              <a:ext cx="301" cy="311"/>
            </a:xfrm>
            <a:custGeom>
              <a:avLst/>
              <a:gdLst>
                <a:gd name="T0" fmla="*/ 1153 w 3017"/>
                <a:gd name="T1" fmla="*/ 2816 h 3110"/>
                <a:gd name="T2" fmla="*/ 1093 w 3017"/>
                <a:gd name="T3" fmla="*/ 1546 h 3110"/>
                <a:gd name="T4" fmla="*/ 1477 w 3017"/>
                <a:gd name="T5" fmla="*/ 1546 h 3110"/>
                <a:gd name="T6" fmla="*/ 1767 w 3017"/>
                <a:gd name="T7" fmla="*/ 1566 h 3110"/>
                <a:gd name="T8" fmla="*/ 1987 w 3017"/>
                <a:gd name="T9" fmla="*/ 1624 h 3110"/>
                <a:gd name="T10" fmla="*/ 2142 w 3017"/>
                <a:gd name="T11" fmla="*/ 1727 h 3110"/>
                <a:gd name="T12" fmla="*/ 2238 w 3017"/>
                <a:gd name="T13" fmla="*/ 1876 h 3110"/>
                <a:gd name="T14" fmla="*/ 2279 w 3017"/>
                <a:gd name="T15" fmla="*/ 2077 h 3110"/>
                <a:gd name="T16" fmla="*/ 2269 w 3017"/>
                <a:gd name="T17" fmla="*/ 2319 h 3110"/>
                <a:gd name="T18" fmla="*/ 2199 w 3017"/>
                <a:gd name="T19" fmla="*/ 2517 h 3110"/>
                <a:gd name="T20" fmla="*/ 2075 w 3017"/>
                <a:gd name="T21" fmla="*/ 2662 h 3110"/>
                <a:gd name="T22" fmla="*/ 1898 w 3017"/>
                <a:gd name="T23" fmla="*/ 2757 h 3110"/>
                <a:gd name="T24" fmla="*/ 1672 w 3017"/>
                <a:gd name="T25" fmla="*/ 2807 h 3110"/>
                <a:gd name="T26" fmla="*/ 1494 w 3017"/>
                <a:gd name="T27" fmla="*/ 297 h 3110"/>
                <a:gd name="T28" fmla="*/ 1675 w 3017"/>
                <a:gd name="T29" fmla="*/ 310 h 3110"/>
                <a:gd name="T30" fmla="*/ 1826 w 3017"/>
                <a:gd name="T31" fmla="*/ 350 h 3110"/>
                <a:gd name="T32" fmla="*/ 1942 w 3017"/>
                <a:gd name="T33" fmla="*/ 424 h 3110"/>
                <a:gd name="T34" fmla="*/ 2019 w 3017"/>
                <a:gd name="T35" fmla="*/ 543 h 3110"/>
                <a:gd name="T36" fmla="*/ 2051 w 3017"/>
                <a:gd name="T37" fmla="*/ 714 h 3110"/>
                <a:gd name="T38" fmla="*/ 2029 w 3017"/>
                <a:gd name="T39" fmla="*/ 915 h 3110"/>
                <a:gd name="T40" fmla="*/ 1949 w 3017"/>
                <a:gd name="T41" fmla="*/ 1066 h 3110"/>
                <a:gd name="T42" fmla="*/ 1822 w 3017"/>
                <a:gd name="T43" fmla="*/ 1168 h 3110"/>
                <a:gd name="T44" fmla="*/ 1658 w 3017"/>
                <a:gd name="T45" fmla="*/ 1229 h 3110"/>
                <a:gd name="T46" fmla="*/ 1469 w 3017"/>
                <a:gd name="T47" fmla="*/ 1256 h 3110"/>
                <a:gd name="T48" fmla="*/ 1189 w 3017"/>
                <a:gd name="T49" fmla="*/ 1259 h 3110"/>
                <a:gd name="T50" fmla="*/ 1053 w 3017"/>
                <a:gd name="T51" fmla="*/ 297 h 3110"/>
                <a:gd name="T52" fmla="*/ 1309 w 3017"/>
                <a:gd name="T53" fmla="*/ 297 h 3110"/>
                <a:gd name="T54" fmla="*/ 2257 w 3017"/>
                <a:gd name="T55" fmla="*/ 1348 h 3110"/>
                <a:gd name="T56" fmla="*/ 2426 w 3017"/>
                <a:gd name="T57" fmla="*/ 1280 h 3110"/>
                <a:gd name="T58" fmla="*/ 2574 w 3017"/>
                <a:gd name="T59" fmla="*/ 1175 h 3110"/>
                <a:gd name="T60" fmla="*/ 2691 w 3017"/>
                <a:gd name="T61" fmla="*/ 1035 h 3110"/>
                <a:gd name="T62" fmla="*/ 2765 w 3017"/>
                <a:gd name="T63" fmla="*/ 865 h 3110"/>
                <a:gd name="T64" fmla="*/ 2785 w 3017"/>
                <a:gd name="T65" fmla="*/ 670 h 3110"/>
                <a:gd name="T66" fmla="*/ 2759 w 3017"/>
                <a:gd name="T67" fmla="*/ 482 h 3110"/>
                <a:gd name="T68" fmla="*/ 2669 w 3017"/>
                <a:gd name="T69" fmla="*/ 305 h 3110"/>
                <a:gd name="T70" fmla="*/ 2489 w 3017"/>
                <a:gd name="T71" fmla="*/ 155 h 3110"/>
                <a:gd name="T72" fmla="*/ 2192 w 3017"/>
                <a:gd name="T73" fmla="*/ 49 h 3110"/>
                <a:gd name="T74" fmla="*/ 1750 w 3017"/>
                <a:gd name="T75" fmla="*/ 2 h 3110"/>
                <a:gd name="T76" fmla="*/ 948 w 3017"/>
                <a:gd name="T77" fmla="*/ 0 h 3110"/>
                <a:gd name="T78" fmla="*/ 236 w 3017"/>
                <a:gd name="T79" fmla="*/ 0 h 3110"/>
                <a:gd name="T80" fmla="*/ 0 w 3017"/>
                <a:gd name="T81" fmla="*/ 27 h 3110"/>
                <a:gd name="T82" fmla="*/ 138 w 3017"/>
                <a:gd name="T83" fmla="*/ 99 h 3110"/>
                <a:gd name="T84" fmla="*/ 252 w 3017"/>
                <a:gd name="T85" fmla="*/ 227 h 3110"/>
                <a:gd name="T86" fmla="*/ 315 w 3017"/>
                <a:gd name="T87" fmla="*/ 405 h 3110"/>
                <a:gd name="T88" fmla="*/ 337 w 3017"/>
                <a:gd name="T89" fmla="*/ 627 h 3110"/>
                <a:gd name="T90" fmla="*/ 562 w 3017"/>
                <a:gd name="T91" fmla="*/ 3110 h 3110"/>
                <a:gd name="T92" fmla="*/ 1186 w 3017"/>
                <a:gd name="T93" fmla="*/ 3110 h 3110"/>
                <a:gd name="T94" fmla="*/ 1783 w 3017"/>
                <a:gd name="T95" fmla="*/ 3109 h 3110"/>
                <a:gd name="T96" fmla="*/ 2175 w 3017"/>
                <a:gd name="T97" fmla="*/ 3068 h 3110"/>
                <a:gd name="T98" fmla="*/ 2508 w 3017"/>
                <a:gd name="T99" fmla="*/ 2961 h 3110"/>
                <a:gd name="T100" fmla="*/ 2769 w 3017"/>
                <a:gd name="T101" fmla="*/ 2787 h 3110"/>
                <a:gd name="T102" fmla="*/ 2941 w 3017"/>
                <a:gd name="T103" fmla="*/ 2542 h 3110"/>
                <a:gd name="T104" fmla="*/ 3015 w 3017"/>
                <a:gd name="T105" fmla="*/ 2222 h 3110"/>
                <a:gd name="T106" fmla="*/ 2987 w 3017"/>
                <a:gd name="T107" fmla="*/ 1932 h 3110"/>
                <a:gd name="T108" fmla="*/ 2885 w 3017"/>
                <a:gd name="T109" fmla="*/ 1712 h 3110"/>
                <a:gd name="T110" fmla="*/ 2724 w 3017"/>
                <a:gd name="T111" fmla="*/ 1550 h 3110"/>
                <a:gd name="T112" fmla="*/ 2520 w 3017"/>
                <a:gd name="T113" fmla="*/ 1441 h 3110"/>
                <a:gd name="T114" fmla="*/ 2289 w 3017"/>
                <a:gd name="T115" fmla="*/ 1381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17" h="3110">
                  <a:moveTo>
                    <a:pt x="1496" y="2816"/>
                  </a:moveTo>
                  <a:lnTo>
                    <a:pt x="1435" y="2816"/>
                  </a:lnTo>
                  <a:lnTo>
                    <a:pt x="1364" y="2816"/>
                  </a:lnTo>
                  <a:lnTo>
                    <a:pt x="1291" y="2816"/>
                  </a:lnTo>
                  <a:lnTo>
                    <a:pt x="1219" y="2816"/>
                  </a:lnTo>
                  <a:lnTo>
                    <a:pt x="1153" y="2816"/>
                  </a:lnTo>
                  <a:lnTo>
                    <a:pt x="1101" y="2816"/>
                  </a:lnTo>
                  <a:lnTo>
                    <a:pt x="1065" y="2816"/>
                  </a:lnTo>
                  <a:lnTo>
                    <a:pt x="1053" y="2816"/>
                  </a:lnTo>
                  <a:lnTo>
                    <a:pt x="1053" y="1546"/>
                  </a:lnTo>
                  <a:lnTo>
                    <a:pt x="1063" y="1546"/>
                  </a:lnTo>
                  <a:lnTo>
                    <a:pt x="1093" y="1546"/>
                  </a:lnTo>
                  <a:lnTo>
                    <a:pt x="1139" y="1546"/>
                  </a:lnTo>
                  <a:lnTo>
                    <a:pt x="1197" y="1546"/>
                  </a:lnTo>
                  <a:lnTo>
                    <a:pt x="1262" y="1546"/>
                  </a:lnTo>
                  <a:lnTo>
                    <a:pt x="1333" y="1546"/>
                  </a:lnTo>
                  <a:lnTo>
                    <a:pt x="1406" y="1546"/>
                  </a:lnTo>
                  <a:lnTo>
                    <a:pt x="1477" y="1546"/>
                  </a:lnTo>
                  <a:lnTo>
                    <a:pt x="1529" y="1547"/>
                  </a:lnTo>
                  <a:lnTo>
                    <a:pt x="1582" y="1548"/>
                  </a:lnTo>
                  <a:lnTo>
                    <a:pt x="1631" y="1551"/>
                  </a:lnTo>
                  <a:lnTo>
                    <a:pt x="1678" y="1554"/>
                  </a:lnTo>
                  <a:lnTo>
                    <a:pt x="1723" y="1559"/>
                  </a:lnTo>
                  <a:lnTo>
                    <a:pt x="1767" y="1566"/>
                  </a:lnTo>
                  <a:lnTo>
                    <a:pt x="1809" y="1573"/>
                  </a:lnTo>
                  <a:lnTo>
                    <a:pt x="1848" y="1580"/>
                  </a:lnTo>
                  <a:lnTo>
                    <a:pt x="1885" y="1590"/>
                  </a:lnTo>
                  <a:lnTo>
                    <a:pt x="1921" y="1600"/>
                  </a:lnTo>
                  <a:lnTo>
                    <a:pt x="1954" y="1612"/>
                  </a:lnTo>
                  <a:lnTo>
                    <a:pt x="1987" y="1624"/>
                  </a:lnTo>
                  <a:lnTo>
                    <a:pt x="2017" y="1638"/>
                  </a:lnTo>
                  <a:lnTo>
                    <a:pt x="2046" y="1654"/>
                  </a:lnTo>
                  <a:lnTo>
                    <a:pt x="2073" y="1670"/>
                  </a:lnTo>
                  <a:lnTo>
                    <a:pt x="2097" y="1688"/>
                  </a:lnTo>
                  <a:lnTo>
                    <a:pt x="2121" y="1707"/>
                  </a:lnTo>
                  <a:lnTo>
                    <a:pt x="2142" y="1727"/>
                  </a:lnTo>
                  <a:lnTo>
                    <a:pt x="2162" y="1748"/>
                  </a:lnTo>
                  <a:lnTo>
                    <a:pt x="2180" y="1772"/>
                  </a:lnTo>
                  <a:lnTo>
                    <a:pt x="2197" y="1795"/>
                  </a:lnTo>
                  <a:lnTo>
                    <a:pt x="2212" y="1821"/>
                  </a:lnTo>
                  <a:lnTo>
                    <a:pt x="2226" y="1849"/>
                  </a:lnTo>
                  <a:lnTo>
                    <a:pt x="2238" y="1876"/>
                  </a:lnTo>
                  <a:lnTo>
                    <a:pt x="2248" y="1906"/>
                  </a:lnTo>
                  <a:lnTo>
                    <a:pt x="2257" y="1938"/>
                  </a:lnTo>
                  <a:lnTo>
                    <a:pt x="2265" y="1971"/>
                  </a:lnTo>
                  <a:lnTo>
                    <a:pt x="2271" y="2005"/>
                  </a:lnTo>
                  <a:lnTo>
                    <a:pt x="2276" y="2039"/>
                  </a:lnTo>
                  <a:lnTo>
                    <a:pt x="2279" y="2077"/>
                  </a:lnTo>
                  <a:lnTo>
                    <a:pt x="2281" y="2115"/>
                  </a:lnTo>
                  <a:lnTo>
                    <a:pt x="2282" y="2155"/>
                  </a:lnTo>
                  <a:lnTo>
                    <a:pt x="2281" y="2199"/>
                  </a:lnTo>
                  <a:lnTo>
                    <a:pt x="2278" y="2240"/>
                  </a:lnTo>
                  <a:lnTo>
                    <a:pt x="2274" y="2280"/>
                  </a:lnTo>
                  <a:lnTo>
                    <a:pt x="2269" y="2319"/>
                  </a:lnTo>
                  <a:lnTo>
                    <a:pt x="2260" y="2356"/>
                  </a:lnTo>
                  <a:lnTo>
                    <a:pt x="2251" y="2391"/>
                  </a:lnTo>
                  <a:lnTo>
                    <a:pt x="2241" y="2426"/>
                  </a:lnTo>
                  <a:lnTo>
                    <a:pt x="2229" y="2458"/>
                  </a:lnTo>
                  <a:lnTo>
                    <a:pt x="2214" y="2489"/>
                  </a:lnTo>
                  <a:lnTo>
                    <a:pt x="2199" y="2517"/>
                  </a:lnTo>
                  <a:lnTo>
                    <a:pt x="2182" y="2546"/>
                  </a:lnTo>
                  <a:lnTo>
                    <a:pt x="2164" y="2572"/>
                  </a:lnTo>
                  <a:lnTo>
                    <a:pt x="2143" y="2596"/>
                  </a:lnTo>
                  <a:lnTo>
                    <a:pt x="2122" y="2620"/>
                  </a:lnTo>
                  <a:lnTo>
                    <a:pt x="2099" y="2642"/>
                  </a:lnTo>
                  <a:lnTo>
                    <a:pt x="2075" y="2662"/>
                  </a:lnTo>
                  <a:lnTo>
                    <a:pt x="2049" y="2681"/>
                  </a:lnTo>
                  <a:lnTo>
                    <a:pt x="2021" y="2700"/>
                  </a:lnTo>
                  <a:lnTo>
                    <a:pt x="1992" y="2716"/>
                  </a:lnTo>
                  <a:lnTo>
                    <a:pt x="1962" y="2732"/>
                  </a:lnTo>
                  <a:lnTo>
                    <a:pt x="1931" y="2745"/>
                  </a:lnTo>
                  <a:lnTo>
                    <a:pt x="1898" y="2757"/>
                  </a:lnTo>
                  <a:lnTo>
                    <a:pt x="1863" y="2769"/>
                  </a:lnTo>
                  <a:lnTo>
                    <a:pt x="1828" y="2779"/>
                  </a:lnTo>
                  <a:lnTo>
                    <a:pt x="1790" y="2788"/>
                  </a:lnTo>
                  <a:lnTo>
                    <a:pt x="1752" y="2795"/>
                  </a:lnTo>
                  <a:lnTo>
                    <a:pt x="1713" y="2801"/>
                  </a:lnTo>
                  <a:lnTo>
                    <a:pt x="1672" y="2807"/>
                  </a:lnTo>
                  <a:lnTo>
                    <a:pt x="1630" y="2811"/>
                  </a:lnTo>
                  <a:lnTo>
                    <a:pt x="1587" y="2814"/>
                  </a:lnTo>
                  <a:lnTo>
                    <a:pt x="1543" y="2816"/>
                  </a:lnTo>
                  <a:lnTo>
                    <a:pt x="1496" y="2816"/>
                  </a:lnTo>
                  <a:close/>
                  <a:moveTo>
                    <a:pt x="1462" y="297"/>
                  </a:moveTo>
                  <a:lnTo>
                    <a:pt x="1494" y="297"/>
                  </a:lnTo>
                  <a:lnTo>
                    <a:pt x="1526" y="298"/>
                  </a:lnTo>
                  <a:lnTo>
                    <a:pt x="1557" y="299"/>
                  </a:lnTo>
                  <a:lnTo>
                    <a:pt x="1588" y="301"/>
                  </a:lnTo>
                  <a:lnTo>
                    <a:pt x="1618" y="303"/>
                  </a:lnTo>
                  <a:lnTo>
                    <a:pt x="1646" y="306"/>
                  </a:lnTo>
                  <a:lnTo>
                    <a:pt x="1675" y="310"/>
                  </a:lnTo>
                  <a:lnTo>
                    <a:pt x="1702" y="314"/>
                  </a:lnTo>
                  <a:lnTo>
                    <a:pt x="1729" y="320"/>
                  </a:lnTo>
                  <a:lnTo>
                    <a:pt x="1754" y="327"/>
                  </a:lnTo>
                  <a:lnTo>
                    <a:pt x="1779" y="333"/>
                  </a:lnTo>
                  <a:lnTo>
                    <a:pt x="1802" y="341"/>
                  </a:lnTo>
                  <a:lnTo>
                    <a:pt x="1826" y="350"/>
                  </a:lnTo>
                  <a:lnTo>
                    <a:pt x="1848" y="359"/>
                  </a:lnTo>
                  <a:lnTo>
                    <a:pt x="1868" y="370"/>
                  </a:lnTo>
                  <a:lnTo>
                    <a:pt x="1889" y="382"/>
                  </a:lnTo>
                  <a:lnTo>
                    <a:pt x="1907" y="395"/>
                  </a:lnTo>
                  <a:lnTo>
                    <a:pt x="1926" y="409"/>
                  </a:lnTo>
                  <a:lnTo>
                    <a:pt x="1942" y="424"/>
                  </a:lnTo>
                  <a:lnTo>
                    <a:pt x="1958" y="440"/>
                  </a:lnTo>
                  <a:lnTo>
                    <a:pt x="1972" y="458"/>
                  </a:lnTo>
                  <a:lnTo>
                    <a:pt x="1986" y="477"/>
                  </a:lnTo>
                  <a:lnTo>
                    <a:pt x="1999" y="498"/>
                  </a:lnTo>
                  <a:lnTo>
                    <a:pt x="2009" y="519"/>
                  </a:lnTo>
                  <a:lnTo>
                    <a:pt x="2019" y="543"/>
                  </a:lnTo>
                  <a:lnTo>
                    <a:pt x="2027" y="568"/>
                  </a:lnTo>
                  <a:lnTo>
                    <a:pt x="2035" y="593"/>
                  </a:lnTo>
                  <a:lnTo>
                    <a:pt x="2041" y="621"/>
                  </a:lnTo>
                  <a:lnTo>
                    <a:pt x="2046" y="651"/>
                  </a:lnTo>
                  <a:lnTo>
                    <a:pt x="2049" y="681"/>
                  </a:lnTo>
                  <a:lnTo>
                    <a:pt x="2051" y="714"/>
                  </a:lnTo>
                  <a:lnTo>
                    <a:pt x="2052" y="748"/>
                  </a:lnTo>
                  <a:lnTo>
                    <a:pt x="2051" y="785"/>
                  </a:lnTo>
                  <a:lnTo>
                    <a:pt x="2049" y="820"/>
                  </a:lnTo>
                  <a:lnTo>
                    <a:pt x="2044" y="854"/>
                  </a:lnTo>
                  <a:lnTo>
                    <a:pt x="2038" y="886"/>
                  </a:lnTo>
                  <a:lnTo>
                    <a:pt x="2029" y="915"/>
                  </a:lnTo>
                  <a:lnTo>
                    <a:pt x="2020" y="944"/>
                  </a:lnTo>
                  <a:lnTo>
                    <a:pt x="2009" y="972"/>
                  </a:lnTo>
                  <a:lnTo>
                    <a:pt x="1997" y="997"/>
                  </a:lnTo>
                  <a:lnTo>
                    <a:pt x="1982" y="1021"/>
                  </a:lnTo>
                  <a:lnTo>
                    <a:pt x="1967" y="1045"/>
                  </a:lnTo>
                  <a:lnTo>
                    <a:pt x="1949" y="1066"/>
                  </a:lnTo>
                  <a:lnTo>
                    <a:pt x="1932" y="1086"/>
                  </a:lnTo>
                  <a:lnTo>
                    <a:pt x="1912" y="1105"/>
                  </a:lnTo>
                  <a:lnTo>
                    <a:pt x="1892" y="1123"/>
                  </a:lnTo>
                  <a:lnTo>
                    <a:pt x="1869" y="1139"/>
                  </a:lnTo>
                  <a:lnTo>
                    <a:pt x="1847" y="1153"/>
                  </a:lnTo>
                  <a:lnTo>
                    <a:pt x="1822" y="1168"/>
                  </a:lnTo>
                  <a:lnTo>
                    <a:pt x="1797" y="1181"/>
                  </a:lnTo>
                  <a:lnTo>
                    <a:pt x="1771" y="1192"/>
                  </a:lnTo>
                  <a:lnTo>
                    <a:pt x="1744" y="1203"/>
                  </a:lnTo>
                  <a:lnTo>
                    <a:pt x="1716" y="1213"/>
                  </a:lnTo>
                  <a:lnTo>
                    <a:pt x="1687" y="1221"/>
                  </a:lnTo>
                  <a:lnTo>
                    <a:pt x="1658" y="1229"/>
                  </a:lnTo>
                  <a:lnTo>
                    <a:pt x="1628" y="1235"/>
                  </a:lnTo>
                  <a:lnTo>
                    <a:pt x="1597" y="1241"/>
                  </a:lnTo>
                  <a:lnTo>
                    <a:pt x="1566" y="1247"/>
                  </a:lnTo>
                  <a:lnTo>
                    <a:pt x="1533" y="1251"/>
                  </a:lnTo>
                  <a:lnTo>
                    <a:pt x="1502" y="1254"/>
                  </a:lnTo>
                  <a:lnTo>
                    <a:pt x="1469" y="1256"/>
                  </a:lnTo>
                  <a:lnTo>
                    <a:pt x="1435" y="1258"/>
                  </a:lnTo>
                  <a:lnTo>
                    <a:pt x="1401" y="1259"/>
                  </a:lnTo>
                  <a:lnTo>
                    <a:pt x="1367" y="1259"/>
                  </a:lnTo>
                  <a:lnTo>
                    <a:pt x="1302" y="1259"/>
                  </a:lnTo>
                  <a:lnTo>
                    <a:pt x="1243" y="1259"/>
                  </a:lnTo>
                  <a:lnTo>
                    <a:pt x="1189" y="1259"/>
                  </a:lnTo>
                  <a:lnTo>
                    <a:pt x="1143" y="1259"/>
                  </a:lnTo>
                  <a:lnTo>
                    <a:pt x="1105" y="1259"/>
                  </a:lnTo>
                  <a:lnTo>
                    <a:pt x="1076" y="1259"/>
                  </a:lnTo>
                  <a:lnTo>
                    <a:pt x="1059" y="1259"/>
                  </a:lnTo>
                  <a:lnTo>
                    <a:pt x="1053" y="1259"/>
                  </a:lnTo>
                  <a:lnTo>
                    <a:pt x="1053" y="297"/>
                  </a:lnTo>
                  <a:lnTo>
                    <a:pt x="1062" y="297"/>
                  </a:lnTo>
                  <a:lnTo>
                    <a:pt x="1087" y="297"/>
                  </a:lnTo>
                  <a:lnTo>
                    <a:pt x="1126" y="297"/>
                  </a:lnTo>
                  <a:lnTo>
                    <a:pt x="1178" y="297"/>
                  </a:lnTo>
                  <a:lnTo>
                    <a:pt x="1239" y="297"/>
                  </a:lnTo>
                  <a:lnTo>
                    <a:pt x="1309" y="297"/>
                  </a:lnTo>
                  <a:lnTo>
                    <a:pt x="1382" y="297"/>
                  </a:lnTo>
                  <a:lnTo>
                    <a:pt x="1462" y="297"/>
                  </a:lnTo>
                  <a:close/>
                  <a:moveTo>
                    <a:pt x="2169" y="1368"/>
                  </a:moveTo>
                  <a:lnTo>
                    <a:pt x="2199" y="1363"/>
                  </a:lnTo>
                  <a:lnTo>
                    <a:pt x="2228" y="1355"/>
                  </a:lnTo>
                  <a:lnTo>
                    <a:pt x="2257" y="1348"/>
                  </a:lnTo>
                  <a:lnTo>
                    <a:pt x="2286" y="1340"/>
                  </a:lnTo>
                  <a:lnTo>
                    <a:pt x="2315" y="1330"/>
                  </a:lnTo>
                  <a:lnTo>
                    <a:pt x="2343" y="1319"/>
                  </a:lnTo>
                  <a:lnTo>
                    <a:pt x="2371" y="1307"/>
                  </a:lnTo>
                  <a:lnTo>
                    <a:pt x="2398" y="1294"/>
                  </a:lnTo>
                  <a:lnTo>
                    <a:pt x="2426" y="1280"/>
                  </a:lnTo>
                  <a:lnTo>
                    <a:pt x="2451" y="1265"/>
                  </a:lnTo>
                  <a:lnTo>
                    <a:pt x="2477" y="1249"/>
                  </a:lnTo>
                  <a:lnTo>
                    <a:pt x="2503" y="1232"/>
                  </a:lnTo>
                  <a:lnTo>
                    <a:pt x="2527" y="1214"/>
                  </a:lnTo>
                  <a:lnTo>
                    <a:pt x="2551" y="1195"/>
                  </a:lnTo>
                  <a:lnTo>
                    <a:pt x="2574" y="1175"/>
                  </a:lnTo>
                  <a:lnTo>
                    <a:pt x="2596" y="1154"/>
                  </a:lnTo>
                  <a:lnTo>
                    <a:pt x="2617" y="1133"/>
                  </a:lnTo>
                  <a:lnTo>
                    <a:pt x="2637" y="1109"/>
                  </a:lnTo>
                  <a:lnTo>
                    <a:pt x="2656" y="1086"/>
                  </a:lnTo>
                  <a:lnTo>
                    <a:pt x="2674" y="1061"/>
                  </a:lnTo>
                  <a:lnTo>
                    <a:pt x="2691" y="1035"/>
                  </a:lnTo>
                  <a:lnTo>
                    <a:pt x="2706" y="1010"/>
                  </a:lnTo>
                  <a:lnTo>
                    <a:pt x="2721" y="982"/>
                  </a:lnTo>
                  <a:lnTo>
                    <a:pt x="2734" y="954"/>
                  </a:lnTo>
                  <a:lnTo>
                    <a:pt x="2745" y="926"/>
                  </a:lnTo>
                  <a:lnTo>
                    <a:pt x="2756" y="896"/>
                  </a:lnTo>
                  <a:lnTo>
                    <a:pt x="2765" y="865"/>
                  </a:lnTo>
                  <a:lnTo>
                    <a:pt x="2773" y="834"/>
                  </a:lnTo>
                  <a:lnTo>
                    <a:pt x="2778" y="803"/>
                  </a:lnTo>
                  <a:lnTo>
                    <a:pt x="2782" y="769"/>
                  </a:lnTo>
                  <a:lnTo>
                    <a:pt x="2785" y="736"/>
                  </a:lnTo>
                  <a:lnTo>
                    <a:pt x="2786" y="701"/>
                  </a:lnTo>
                  <a:lnTo>
                    <a:pt x="2785" y="670"/>
                  </a:lnTo>
                  <a:lnTo>
                    <a:pt x="2784" y="638"/>
                  </a:lnTo>
                  <a:lnTo>
                    <a:pt x="2782" y="607"/>
                  </a:lnTo>
                  <a:lnTo>
                    <a:pt x="2778" y="575"/>
                  </a:lnTo>
                  <a:lnTo>
                    <a:pt x="2773" y="544"/>
                  </a:lnTo>
                  <a:lnTo>
                    <a:pt x="2767" y="512"/>
                  </a:lnTo>
                  <a:lnTo>
                    <a:pt x="2759" y="482"/>
                  </a:lnTo>
                  <a:lnTo>
                    <a:pt x="2748" y="451"/>
                  </a:lnTo>
                  <a:lnTo>
                    <a:pt x="2737" y="421"/>
                  </a:lnTo>
                  <a:lnTo>
                    <a:pt x="2723" y="391"/>
                  </a:lnTo>
                  <a:lnTo>
                    <a:pt x="2707" y="362"/>
                  </a:lnTo>
                  <a:lnTo>
                    <a:pt x="2689" y="333"/>
                  </a:lnTo>
                  <a:lnTo>
                    <a:pt x="2669" y="305"/>
                  </a:lnTo>
                  <a:lnTo>
                    <a:pt x="2646" y="277"/>
                  </a:lnTo>
                  <a:lnTo>
                    <a:pt x="2620" y="252"/>
                  </a:lnTo>
                  <a:lnTo>
                    <a:pt x="2592" y="225"/>
                  </a:lnTo>
                  <a:lnTo>
                    <a:pt x="2560" y="202"/>
                  </a:lnTo>
                  <a:lnTo>
                    <a:pt x="2526" y="178"/>
                  </a:lnTo>
                  <a:lnTo>
                    <a:pt x="2489" y="155"/>
                  </a:lnTo>
                  <a:lnTo>
                    <a:pt x="2448" y="134"/>
                  </a:lnTo>
                  <a:lnTo>
                    <a:pt x="2404" y="114"/>
                  </a:lnTo>
                  <a:lnTo>
                    <a:pt x="2357" y="96"/>
                  </a:lnTo>
                  <a:lnTo>
                    <a:pt x="2306" y="78"/>
                  </a:lnTo>
                  <a:lnTo>
                    <a:pt x="2251" y="63"/>
                  </a:lnTo>
                  <a:lnTo>
                    <a:pt x="2192" y="49"/>
                  </a:lnTo>
                  <a:lnTo>
                    <a:pt x="2129" y="36"/>
                  </a:lnTo>
                  <a:lnTo>
                    <a:pt x="2062" y="26"/>
                  </a:lnTo>
                  <a:lnTo>
                    <a:pt x="1990" y="17"/>
                  </a:lnTo>
                  <a:lnTo>
                    <a:pt x="1914" y="10"/>
                  </a:lnTo>
                  <a:lnTo>
                    <a:pt x="1834" y="5"/>
                  </a:lnTo>
                  <a:lnTo>
                    <a:pt x="1750" y="2"/>
                  </a:lnTo>
                  <a:lnTo>
                    <a:pt x="1660" y="0"/>
                  </a:lnTo>
                  <a:lnTo>
                    <a:pt x="1520" y="0"/>
                  </a:lnTo>
                  <a:lnTo>
                    <a:pt x="1377" y="0"/>
                  </a:lnTo>
                  <a:lnTo>
                    <a:pt x="1234" y="0"/>
                  </a:lnTo>
                  <a:lnTo>
                    <a:pt x="1090" y="0"/>
                  </a:lnTo>
                  <a:lnTo>
                    <a:pt x="948" y="0"/>
                  </a:lnTo>
                  <a:lnTo>
                    <a:pt x="811" y="0"/>
                  </a:lnTo>
                  <a:lnTo>
                    <a:pt x="679" y="0"/>
                  </a:lnTo>
                  <a:lnTo>
                    <a:pt x="554" y="0"/>
                  </a:lnTo>
                  <a:lnTo>
                    <a:pt x="437" y="0"/>
                  </a:lnTo>
                  <a:lnTo>
                    <a:pt x="331" y="0"/>
                  </a:lnTo>
                  <a:lnTo>
                    <a:pt x="236" y="0"/>
                  </a:lnTo>
                  <a:lnTo>
                    <a:pt x="155" y="0"/>
                  </a:lnTo>
                  <a:lnTo>
                    <a:pt x="90" y="0"/>
                  </a:lnTo>
                  <a:lnTo>
                    <a:pt x="40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42" y="44"/>
                  </a:lnTo>
                  <a:lnTo>
                    <a:pt x="65" y="55"/>
                  </a:lnTo>
                  <a:lnTo>
                    <a:pt x="90" y="67"/>
                  </a:lnTo>
                  <a:lnTo>
                    <a:pt x="114" y="83"/>
                  </a:lnTo>
                  <a:lnTo>
                    <a:pt x="138" y="99"/>
                  </a:lnTo>
                  <a:lnTo>
                    <a:pt x="161" y="116"/>
                  </a:lnTo>
                  <a:lnTo>
                    <a:pt x="181" y="135"/>
                  </a:lnTo>
                  <a:lnTo>
                    <a:pt x="202" y="156"/>
                  </a:lnTo>
                  <a:lnTo>
                    <a:pt x="220" y="179"/>
                  </a:lnTo>
                  <a:lnTo>
                    <a:pt x="236" y="203"/>
                  </a:lnTo>
                  <a:lnTo>
                    <a:pt x="252" y="227"/>
                  </a:lnTo>
                  <a:lnTo>
                    <a:pt x="266" y="254"/>
                  </a:lnTo>
                  <a:lnTo>
                    <a:pt x="279" y="282"/>
                  </a:lnTo>
                  <a:lnTo>
                    <a:pt x="289" y="310"/>
                  </a:lnTo>
                  <a:lnTo>
                    <a:pt x="299" y="341"/>
                  </a:lnTo>
                  <a:lnTo>
                    <a:pt x="307" y="372"/>
                  </a:lnTo>
                  <a:lnTo>
                    <a:pt x="315" y="405"/>
                  </a:lnTo>
                  <a:lnTo>
                    <a:pt x="321" y="438"/>
                  </a:lnTo>
                  <a:lnTo>
                    <a:pt x="326" y="474"/>
                  </a:lnTo>
                  <a:lnTo>
                    <a:pt x="330" y="510"/>
                  </a:lnTo>
                  <a:lnTo>
                    <a:pt x="333" y="548"/>
                  </a:lnTo>
                  <a:lnTo>
                    <a:pt x="335" y="587"/>
                  </a:lnTo>
                  <a:lnTo>
                    <a:pt x="337" y="627"/>
                  </a:lnTo>
                  <a:lnTo>
                    <a:pt x="337" y="3110"/>
                  </a:lnTo>
                  <a:lnTo>
                    <a:pt x="346" y="3110"/>
                  </a:lnTo>
                  <a:lnTo>
                    <a:pt x="376" y="3110"/>
                  </a:lnTo>
                  <a:lnTo>
                    <a:pt x="423" y="3110"/>
                  </a:lnTo>
                  <a:lnTo>
                    <a:pt x="486" y="3110"/>
                  </a:lnTo>
                  <a:lnTo>
                    <a:pt x="562" y="3110"/>
                  </a:lnTo>
                  <a:lnTo>
                    <a:pt x="649" y="3110"/>
                  </a:lnTo>
                  <a:lnTo>
                    <a:pt x="746" y="3110"/>
                  </a:lnTo>
                  <a:lnTo>
                    <a:pt x="850" y="3110"/>
                  </a:lnTo>
                  <a:lnTo>
                    <a:pt x="959" y="3110"/>
                  </a:lnTo>
                  <a:lnTo>
                    <a:pt x="1072" y="3110"/>
                  </a:lnTo>
                  <a:lnTo>
                    <a:pt x="1186" y="3110"/>
                  </a:lnTo>
                  <a:lnTo>
                    <a:pt x="1300" y="3110"/>
                  </a:lnTo>
                  <a:lnTo>
                    <a:pt x="1412" y="3110"/>
                  </a:lnTo>
                  <a:lnTo>
                    <a:pt x="1519" y="3110"/>
                  </a:lnTo>
                  <a:lnTo>
                    <a:pt x="1620" y="3110"/>
                  </a:lnTo>
                  <a:lnTo>
                    <a:pt x="1713" y="3110"/>
                  </a:lnTo>
                  <a:lnTo>
                    <a:pt x="1783" y="3109"/>
                  </a:lnTo>
                  <a:lnTo>
                    <a:pt x="1852" y="3106"/>
                  </a:lnTo>
                  <a:lnTo>
                    <a:pt x="1920" y="3102"/>
                  </a:lnTo>
                  <a:lnTo>
                    <a:pt x="1985" y="3096"/>
                  </a:lnTo>
                  <a:lnTo>
                    <a:pt x="2050" y="3089"/>
                  </a:lnTo>
                  <a:lnTo>
                    <a:pt x="2114" y="3079"/>
                  </a:lnTo>
                  <a:lnTo>
                    <a:pt x="2175" y="3068"/>
                  </a:lnTo>
                  <a:lnTo>
                    <a:pt x="2236" y="3055"/>
                  </a:lnTo>
                  <a:lnTo>
                    <a:pt x="2293" y="3039"/>
                  </a:lnTo>
                  <a:lnTo>
                    <a:pt x="2350" y="3023"/>
                  </a:lnTo>
                  <a:lnTo>
                    <a:pt x="2405" y="3005"/>
                  </a:lnTo>
                  <a:lnTo>
                    <a:pt x="2458" y="2984"/>
                  </a:lnTo>
                  <a:lnTo>
                    <a:pt x="2508" y="2961"/>
                  </a:lnTo>
                  <a:lnTo>
                    <a:pt x="2557" y="2938"/>
                  </a:lnTo>
                  <a:lnTo>
                    <a:pt x="2603" y="2911"/>
                  </a:lnTo>
                  <a:lnTo>
                    <a:pt x="2649" y="2884"/>
                  </a:lnTo>
                  <a:lnTo>
                    <a:pt x="2691" y="2854"/>
                  </a:lnTo>
                  <a:lnTo>
                    <a:pt x="2731" y="2822"/>
                  </a:lnTo>
                  <a:lnTo>
                    <a:pt x="2769" y="2787"/>
                  </a:lnTo>
                  <a:lnTo>
                    <a:pt x="2804" y="2751"/>
                  </a:lnTo>
                  <a:lnTo>
                    <a:pt x="2837" y="2714"/>
                  </a:lnTo>
                  <a:lnTo>
                    <a:pt x="2866" y="2674"/>
                  </a:lnTo>
                  <a:lnTo>
                    <a:pt x="2894" y="2632"/>
                  </a:lnTo>
                  <a:lnTo>
                    <a:pt x="2920" y="2588"/>
                  </a:lnTo>
                  <a:lnTo>
                    <a:pt x="2941" y="2542"/>
                  </a:lnTo>
                  <a:lnTo>
                    <a:pt x="2962" y="2494"/>
                  </a:lnTo>
                  <a:lnTo>
                    <a:pt x="2978" y="2444"/>
                  </a:lnTo>
                  <a:lnTo>
                    <a:pt x="2992" y="2391"/>
                  </a:lnTo>
                  <a:lnTo>
                    <a:pt x="3003" y="2337"/>
                  </a:lnTo>
                  <a:lnTo>
                    <a:pt x="3011" y="2280"/>
                  </a:lnTo>
                  <a:lnTo>
                    <a:pt x="3015" y="2222"/>
                  </a:lnTo>
                  <a:lnTo>
                    <a:pt x="3017" y="2161"/>
                  </a:lnTo>
                  <a:lnTo>
                    <a:pt x="3016" y="2112"/>
                  </a:lnTo>
                  <a:lnTo>
                    <a:pt x="3012" y="2064"/>
                  </a:lnTo>
                  <a:lnTo>
                    <a:pt x="3006" y="2018"/>
                  </a:lnTo>
                  <a:lnTo>
                    <a:pt x="2998" y="1974"/>
                  </a:lnTo>
                  <a:lnTo>
                    <a:pt x="2987" y="1932"/>
                  </a:lnTo>
                  <a:lnTo>
                    <a:pt x="2975" y="1891"/>
                  </a:lnTo>
                  <a:lnTo>
                    <a:pt x="2961" y="1852"/>
                  </a:lnTo>
                  <a:lnTo>
                    <a:pt x="2945" y="1815"/>
                  </a:lnTo>
                  <a:lnTo>
                    <a:pt x="2927" y="1779"/>
                  </a:lnTo>
                  <a:lnTo>
                    <a:pt x="2906" y="1745"/>
                  </a:lnTo>
                  <a:lnTo>
                    <a:pt x="2885" y="1712"/>
                  </a:lnTo>
                  <a:lnTo>
                    <a:pt x="2862" y="1681"/>
                  </a:lnTo>
                  <a:lnTo>
                    <a:pt x="2837" y="1653"/>
                  </a:lnTo>
                  <a:lnTo>
                    <a:pt x="2811" y="1625"/>
                  </a:lnTo>
                  <a:lnTo>
                    <a:pt x="2783" y="1598"/>
                  </a:lnTo>
                  <a:lnTo>
                    <a:pt x="2754" y="1574"/>
                  </a:lnTo>
                  <a:lnTo>
                    <a:pt x="2724" y="1550"/>
                  </a:lnTo>
                  <a:lnTo>
                    <a:pt x="2692" y="1529"/>
                  </a:lnTo>
                  <a:lnTo>
                    <a:pt x="2660" y="1508"/>
                  </a:lnTo>
                  <a:lnTo>
                    <a:pt x="2626" y="1490"/>
                  </a:lnTo>
                  <a:lnTo>
                    <a:pt x="2591" y="1472"/>
                  </a:lnTo>
                  <a:lnTo>
                    <a:pt x="2556" y="1456"/>
                  </a:lnTo>
                  <a:lnTo>
                    <a:pt x="2520" y="1441"/>
                  </a:lnTo>
                  <a:lnTo>
                    <a:pt x="2483" y="1428"/>
                  </a:lnTo>
                  <a:lnTo>
                    <a:pt x="2445" y="1416"/>
                  </a:lnTo>
                  <a:lnTo>
                    <a:pt x="2407" y="1406"/>
                  </a:lnTo>
                  <a:lnTo>
                    <a:pt x="2368" y="1396"/>
                  </a:lnTo>
                  <a:lnTo>
                    <a:pt x="2329" y="1388"/>
                  </a:lnTo>
                  <a:lnTo>
                    <a:pt x="2289" y="1381"/>
                  </a:lnTo>
                  <a:lnTo>
                    <a:pt x="2249" y="1375"/>
                  </a:lnTo>
                  <a:lnTo>
                    <a:pt x="2209" y="1371"/>
                  </a:lnTo>
                  <a:lnTo>
                    <a:pt x="2169" y="13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1980" y="2255"/>
              <a:ext cx="324" cy="311"/>
            </a:xfrm>
            <a:custGeom>
              <a:avLst/>
              <a:gdLst>
                <a:gd name="T0" fmla="*/ 1155 w 3233"/>
                <a:gd name="T1" fmla="*/ 297 h 3110"/>
                <a:gd name="T2" fmla="*/ 1461 w 3233"/>
                <a:gd name="T3" fmla="*/ 297 h 3110"/>
                <a:gd name="T4" fmla="*/ 1651 w 3233"/>
                <a:gd name="T5" fmla="*/ 300 h 3110"/>
                <a:gd name="T6" fmla="*/ 1780 w 3233"/>
                <a:gd name="T7" fmla="*/ 316 h 3110"/>
                <a:gd name="T8" fmla="*/ 1890 w 3233"/>
                <a:gd name="T9" fmla="*/ 346 h 3110"/>
                <a:gd name="T10" fmla="*/ 1981 w 3233"/>
                <a:gd name="T11" fmla="*/ 394 h 3110"/>
                <a:gd name="T12" fmla="*/ 2053 w 3233"/>
                <a:gd name="T13" fmla="*/ 462 h 3110"/>
                <a:gd name="T14" fmla="*/ 2106 w 3233"/>
                <a:gd name="T15" fmla="*/ 551 h 3110"/>
                <a:gd name="T16" fmla="*/ 2141 w 3233"/>
                <a:gd name="T17" fmla="*/ 664 h 3110"/>
                <a:gd name="T18" fmla="*/ 2155 w 3233"/>
                <a:gd name="T19" fmla="*/ 804 h 3110"/>
                <a:gd name="T20" fmla="*/ 2149 w 3233"/>
                <a:gd name="T21" fmla="*/ 946 h 3110"/>
                <a:gd name="T22" fmla="*/ 2119 w 3233"/>
                <a:gd name="T23" fmla="*/ 1070 h 3110"/>
                <a:gd name="T24" fmla="*/ 2063 w 3233"/>
                <a:gd name="T25" fmla="*/ 1179 h 3110"/>
                <a:gd name="T26" fmla="*/ 1986 w 3233"/>
                <a:gd name="T27" fmla="*/ 1270 h 3110"/>
                <a:gd name="T28" fmla="*/ 1887 w 3233"/>
                <a:gd name="T29" fmla="*/ 1343 h 3110"/>
                <a:gd name="T30" fmla="*/ 1770 w 3233"/>
                <a:gd name="T31" fmla="*/ 1398 h 3110"/>
                <a:gd name="T32" fmla="*/ 1634 w 3233"/>
                <a:gd name="T33" fmla="*/ 1434 h 3110"/>
                <a:gd name="T34" fmla="*/ 1480 w 3233"/>
                <a:gd name="T35" fmla="*/ 1450 h 3110"/>
                <a:gd name="T36" fmla="*/ 1241 w 3233"/>
                <a:gd name="T37" fmla="*/ 1451 h 3110"/>
                <a:gd name="T38" fmla="*/ 1067 w 3233"/>
                <a:gd name="T39" fmla="*/ 1451 h 3110"/>
                <a:gd name="T40" fmla="*/ 3233 w 3233"/>
                <a:gd name="T41" fmla="*/ 3110 h 3110"/>
                <a:gd name="T42" fmla="*/ 2213 w 3233"/>
                <a:gd name="T43" fmla="*/ 1610 h 3110"/>
                <a:gd name="T44" fmla="*/ 2370 w 3233"/>
                <a:gd name="T45" fmla="*/ 1548 h 3110"/>
                <a:gd name="T46" fmla="*/ 2511 w 3233"/>
                <a:gd name="T47" fmla="*/ 1473 h 3110"/>
                <a:gd name="T48" fmla="*/ 2634 w 3233"/>
                <a:gd name="T49" fmla="*/ 1383 h 3110"/>
                <a:gd name="T50" fmla="*/ 2736 w 3233"/>
                <a:gd name="T51" fmla="*/ 1277 h 3110"/>
                <a:gd name="T52" fmla="*/ 2814 w 3233"/>
                <a:gd name="T53" fmla="*/ 1156 h 3110"/>
                <a:gd name="T54" fmla="*/ 2866 w 3233"/>
                <a:gd name="T55" fmla="*/ 1018 h 3110"/>
                <a:gd name="T56" fmla="*/ 2890 w 3233"/>
                <a:gd name="T57" fmla="*/ 861 h 3110"/>
                <a:gd name="T58" fmla="*/ 2881 w 3233"/>
                <a:gd name="T59" fmla="*/ 674 h 3110"/>
                <a:gd name="T60" fmla="*/ 2842 w 3233"/>
                <a:gd name="T61" fmla="*/ 504 h 3110"/>
                <a:gd name="T62" fmla="*/ 2769 w 3233"/>
                <a:gd name="T63" fmla="*/ 357 h 3110"/>
                <a:gd name="T64" fmla="*/ 2659 w 3233"/>
                <a:gd name="T65" fmla="*/ 235 h 3110"/>
                <a:gd name="T66" fmla="*/ 2510 w 3233"/>
                <a:gd name="T67" fmla="*/ 139 h 3110"/>
                <a:gd name="T68" fmla="*/ 2321 w 3233"/>
                <a:gd name="T69" fmla="*/ 67 h 3110"/>
                <a:gd name="T70" fmla="*/ 2088 w 3233"/>
                <a:gd name="T71" fmla="*/ 21 h 3110"/>
                <a:gd name="T72" fmla="*/ 1808 w 3233"/>
                <a:gd name="T73" fmla="*/ 2 h 3110"/>
                <a:gd name="T74" fmla="*/ 1296 w 3233"/>
                <a:gd name="T75" fmla="*/ 0 h 3110"/>
                <a:gd name="T76" fmla="*/ 718 w 3233"/>
                <a:gd name="T77" fmla="*/ 0 h 3110"/>
                <a:gd name="T78" fmla="*/ 252 w 3233"/>
                <a:gd name="T79" fmla="*/ 0 h 3110"/>
                <a:gd name="T80" fmla="*/ 11 w 3233"/>
                <a:gd name="T81" fmla="*/ 0 h 3110"/>
                <a:gd name="T82" fmla="*/ 48 w 3233"/>
                <a:gd name="T83" fmla="*/ 48 h 3110"/>
                <a:gd name="T84" fmla="*/ 142 w 3233"/>
                <a:gd name="T85" fmla="*/ 104 h 3110"/>
                <a:gd name="T86" fmla="*/ 203 w 3233"/>
                <a:gd name="T87" fmla="*/ 160 h 3110"/>
                <a:gd name="T88" fmla="*/ 241 w 3233"/>
                <a:gd name="T89" fmla="*/ 211 h 3110"/>
                <a:gd name="T90" fmla="*/ 285 w 3233"/>
                <a:gd name="T91" fmla="*/ 298 h 3110"/>
                <a:gd name="T92" fmla="*/ 320 w 3233"/>
                <a:gd name="T93" fmla="*/ 435 h 3110"/>
                <a:gd name="T94" fmla="*/ 337 w 3233"/>
                <a:gd name="T95" fmla="*/ 595 h 3110"/>
                <a:gd name="T96" fmla="*/ 339 w 3233"/>
                <a:gd name="T97" fmla="*/ 789 h 3110"/>
                <a:gd name="T98" fmla="*/ 339 w 3233"/>
                <a:gd name="T99" fmla="*/ 1453 h 3110"/>
                <a:gd name="T100" fmla="*/ 339 w 3233"/>
                <a:gd name="T101" fmla="*/ 2343 h 3110"/>
                <a:gd name="T102" fmla="*/ 339 w 3233"/>
                <a:gd name="T103" fmla="*/ 3006 h 3110"/>
                <a:gd name="T104" fmla="*/ 1058 w 3233"/>
                <a:gd name="T105" fmla="*/ 1732 h 3110"/>
                <a:gd name="T106" fmla="*/ 1149 w 3233"/>
                <a:gd name="T107" fmla="*/ 1732 h 3110"/>
                <a:gd name="T108" fmla="*/ 1321 w 3233"/>
                <a:gd name="T109" fmla="*/ 1732 h 3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33" h="3110">
                  <a:moveTo>
                    <a:pt x="1058" y="297"/>
                  </a:moveTo>
                  <a:lnTo>
                    <a:pt x="1070" y="297"/>
                  </a:lnTo>
                  <a:lnTo>
                    <a:pt x="1104" y="297"/>
                  </a:lnTo>
                  <a:lnTo>
                    <a:pt x="1155" y="297"/>
                  </a:lnTo>
                  <a:lnTo>
                    <a:pt x="1221" y="297"/>
                  </a:lnTo>
                  <a:lnTo>
                    <a:pt x="1296" y="297"/>
                  </a:lnTo>
                  <a:lnTo>
                    <a:pt x="1378" y="297"/>
                  </a:lnTo>
                  <a:lnTo>
                    <a:pt x="1461" y="297"/>
                  </a:lnTo>
                  <a:lnTo>
                    <a:pt x="1542" y="297"/>
                  </a:lnTo>
                  <a:lnTo>
                    <a:pt x="1579" y="297"/>
                  </a:lnTo>
                  <a:lnTo>
                    <a:pt x="1616" y="298"/>
                  </a:lnTo>
                  <a:lnTo>
                    <a:pt x="1651" y="300"/>
                  </a:lnTo>
                  <a:lnTo>
                    <a:pt x="1685" y="303"/>
                  </a:lnTo>
                  <a:lnTo>
                    <a:pt x="1717" y="306"/>
                  </a:lnTo>
                  <a:lnTo>
                    <a:pt x="1749" y="310"/>
                  </a:lnTo>
                  <a:lnTo>
                    <a:pt x="1780" y="316"/>
                  </a:lnTo>
                  <a:lnTo>
                    <a:pt x="1808" y="322"/>
                  </a:lnTo>
                  <a:lnTo>
                    <a:pt x="1836" y="330"/>
                  </a:lnTo>
                  <a:lnTo>
                    <a:pt x="1864" y="337"/>
                  </a:lnTo>
                  <a:lnTo>
                    <a:pt x="1890" y="346"/>
                  </a:lnTo>
                  <a:lnTo>
                    <a:pt x="1914" y="356"/>
                  </a:lnTo>
                  <a:lnTo>
                    <a:pt x="1937" y="369"/>
                  </a:lnTo>
                  <a:lnTo>
                    <a:pt x="1959" y="381"/>
                  </a:lnTo>
                  <a:lnTo>
                    <a:pt x="1981" y="394"/>
                  </a:lnTo>
                  <a:lnTo>
                    <a:pt x="2000" y="410"/>
                  </a:lnTo>
                  <a:lnTo>
                    <a:pt x="2019" y="426"/>
                  </a:lnTo>
                  <a:lnTo>
                    <a:pt x="2037" y="444"/>
                  </a:lnTo>
                  <a:lnTo>
                    <a:pt x="2053" y="462"/>
                  </a:lnTo>
                  <a:lnTo>
                    <a:pt x="2068" y="482"/>
                  </a:lnTo>
                  <a:lnTo>
                    <a:pt x="2083" y="504"/>
                  </a:lnTo>
                  <a:lnTo>
                    <a:pt x="2095" y="527"/>
                  </a:lnTo>
                  <a:lnTo>
                    <a:pt x="2106" y="551"/>
                  </a:lnTo>
                  <a:lnTo>
                    <a:pt x="2118" y="577"/>
                  </a:lnTo>
                  <a:lnTo>
                    <a:pt x="2126" y="605"/>
                  </a:lnTo>
                  <a:lnTo>
                    <a:pt x="2134" y="633"/>
                  </a:lnTo>
                  <a:lnTo>
                    <a:pt x="2141" y="664"/>
                  </a:lnTo>
                  <a:lnTo>
                    <a:pt x="2146" y="697"/>
                  </a:lnTo>
                  <a:lnTo>
                    <a:pt x="2150" y="731"/>
                  </a:lnTo>
                  <a:lnTo>
                    <a:pt x="2154" y="766"/>
                  </a:lnTo>
                  <a:lnTo>
                    <a:pt x="2155" y="804"/>
                  </a:lnTo>
                  <a:lnTo>
                    <a:pt x="2157" y="843"/>
                  </a:lnTo>
                  <a:lnTo>
                    <a:pt x="2155" y="878"/>
                  </a:lnTo>
                  <a:lnTo>
                    <a:pt x="2153" y="912"/>
                  </a:lnTo>
                  <a:lnTo>
                    <a:pt x="2149" y="946"/>
                  </a:lnTo>
                  <a:lnTo>
                    <a:pt x="2144" y="979"/>
                  </a:lnTo>
                  <a:lnTo>
                    <a:pt x="2137" y="1011"/>
                  </a:lnTo>
                  <a:lnTo>
                    <a:pt x="2128" y="1040"/>
                  </a:lnTo>
                  <a:lnTo>
                    <a:pt x="2119" y="1070"/>
                  </a:lnTo>
                  <a:lnTo>
                    <a:pt x="2106" y="1099"/>
                  </a:lnTo>
                  <a:lnTo>
                    <a:pt x="2094" y="1127"/>
                  </a:lnTo>
                  <a:lnTo>
                    <a:pt x="2078" y="1153"/>
                  </a:lnTo>
                  <a:lnTo>
                    <a:pt x="2063" y="1179"/>
                  </a:lnTo>
                  <a:lnTo>
                    <a:pt x="2046" y="1203"/>
                  </a:lnTo>
                  <a:lnTo>
                    <a:pt x="2027" y="1226"/>
                  </a:lnTo>
                  <a:lnTo>
                    <a:pt x="2008" y="1249"/>
                  </a:lnTo>
                  <a:lnTo>
                    <a:pt x="1986" y="1270"/>
                  </a:lnTo>
                  <a:lnTo>
                    <a:pt x="1963" y="1290"/>
                  </a:lnTo>
                  <a:lnTo>
                    <a:pt x="1940" y="1309"/>
                  </a:lnTo>
                  <a:lnTo>
                    <a:pt x="1914" y="1327"/>
                  </a:lnTo>
                  <a:lnTo>
                    <a:pt x="1887" y="1343"/>
                  </a:lnTo>
                  <a:lnTo>
                    <a:pt x="1860" y="1359"/>
                  </a:lnTo>
                  <a:lnTo>
                    <a:pt x="1831" y="1374"/>
                  </a:lnTo>
                  <a:lnTo>
                    <a:pt x="1801" y="1387"/>
                  </a:lnTo>
                  <a:lnTo>
                    <a:pt x="1770" y="1398"/>
                  </a:lnTo>
                  <a:lnTo>
                    <a:pt x="1738" y="1410"/>
                  </a:lnTo>
                  <a:lnTo>
                    <a:pt x="1704" y="1419"/>
                  </a:lnTo>
                  <a:lnTo>
                    <a:pt x="1670" y="1427"/>
                  </a:lnTo>
                  <a:lnTo>
                    <a:pt x="1634" y="1434"/>
                  </a:lnTo>
                  <a:lnTo>
                    <a:pt x="1597" y="1440"/>
                  </a:lnTo>
                  <a:lnTo>
                    <a:pt x="1559" y="1445"/>
                  </a:lnTo>
                  <a:lnTo>
                    <a:pt x="1520" y="1448"/>
                  </a:lnTo>
                  <a:lnTo>
                    <a:pt x="1480" y="1450"/>
                  </a:lnTo>
                  <a:lnTo>
                    <a:pt x="1440" y="1451"/>
                  </a:lnTo>
                  <a:lnTo>
                    <a:pt x="1372" y="1451"/>
                  </a:lnTo>
                  <a:lnTo>
                    <a:pt x="1305" y="1451"/>
                  </a:lnTo>
                  <a:lnTo>
                    <a:pt x="1241" y="1451"/>
                  </a:lnTo>
                  <a:lnTo>
                    <a:pt x="1182" y="1451"/>
                  </a:lnTo>
                  <a:lnTo>
                    <a:pt x="1132" y="1451"/>
                  </a:lnTo>
                  <a:lnTo>
                    <a:pt x="1093" y="1451"/>
                  </a:lnTo>
                  <a:lnTo>
                    <a:pt x="1067" y="1451"/>
                  </a:lnTo>
                  <a:lnTo>
                    <a:pt x="1058" y="1451"/>
                  </a:lnTo>
                  <a:lnTo>
                    <a:pt x="1058" y="297"/>
                  </a:lnTo>
                  <a:close/>
                  <a:moveTo>
                    <a:pt x="2336" y="3110"/>
                  </a:moveTo>
                  <a:lnTo>
                    <a:pt x="3233" y="3110"/>
                  </a:lnTo>
                  <a:lnTo>
                    <a:pt x="2088" y="1648"/>
                  </a:lnTo>
                  <a:lnTo>
                    <a:pt x="2130" y="1635"/>
                  </a:lnTo>
                  <a:lnTo>
                    <a:pt x="2172" y="1623"/>
                  </a:lnTo>
                  <a:lnTo>
                    <a:pt x="2213" y="1610"/>
                  </a:lnTo>
                  <a:lnTo>
                    <a:pt x="2254" y="1595"/>
                  </a:lnTo>
                  <a:lnTo>
                    <a:pt x="2293" y="1580"/>
                  </a:lnTo>
                  <a:lnTo>
                    <a:pt x="2332" y="1565"/>
                  </a:lnTo>
                  <a:lnTo>
                    <a:pt x="2370" y="1548"/>
                  </a:lnTo>
                  <a:lnTo>
                    <a:pt x="2407" y="1531"/>
                  </a:lnTo>
                  <a:lnTo>
                    <a:pt x="2442" y="1512"/>
                  </a:lnTo>
                  <a:lnTo>
                    <a:pt x="2477" y="1493"/>
                  </a:lnTo>
                  <a:lnTo>
                    <a:pt x="2511" y="1473"/>
                  </a:lnTo>
                  <a:lnTo>
                    <a:pt x="2544" y="1452"/>
                  </a:lnTo>
                  <a:lnTo>
                    <a:pt x="2574" y="1429"/>
                  </a:lnTo>
                  <a:lnTo>
                    <a:pt x="2604" y="1407"/>
                  </a:lnTo>
                  <a:lnTo>
                    <a:pt x="2634" y="1383"/>
                  </a:lnTo>
                  <a:lnTo>
                    <a:pt x="2662" y="1357"/>
                  </a:lnTo>
                  <a:lnTo>
                    <a:pt x="2687" y="1332"/>
                  </a:lnTo>
                  <a:lnTo>
                    <a:pt x="2712" y="1305"/>
                  </a:lnTo>
                  <a:lnTo>
                    <a:pt x="2736" y="1277"/>
                  </a:lnTo>
                  <a:lnTo>
                    <a:pt x="2757" y="1249"/>
                  </a:lnTo>
                  <a:lnTo>
                    <a:pt x="2778" y="1219"/>
                  </a:lnTo>
                  <a:lnTo>
                    <a:pt x="2796" y="1188"/>
                  </a:lnTo>
                  <a:lnTo>
                    <a:pt x="2814" y="1156"/>
                  </a:lnTo>
                  <a:lnTo>
                    <a:pt x="2829" y="1123"/>
                  </a:lnTo>
                  <a:lnTo>
                    <a:pt x="2844" y="1089"/>
                  </a:lnTo>
                  <a:lnTo>
                    <a:pt x="2856" y="1054"/>
                  </a:lnTo>
                  <a:lnTo>
                    <a:pt x="2866" y="1018"/>
                  </a:lnTo>
                  <a:lnTo>
                    <a:pt x="2874" y="980"/>
                  </a:lnTo>
                  <a:lnTo>
                    <a:pt x="2881" y="941"/>
                  </a:lnTo>
                  <a:lnTo>
                    <a:pt x="2887" y="902"/>
                  </a:lnTo>
                  <a:lnTo>
                    <a:pt x="2890" y="861"/>
                  </a:lnTo>
                  <a:lnTo>
                    <a:pt x="2891" y="818"/>
                  </a:lnTo>
                  <a:lnTo>
                    <a:pt x="2890" y="769"/>
                  </a:lnTo>
                  <a:lnTo>
                    <a:pt x="2887" y="721"/>
                  </a:lnTo>
                  <a:lnTo>
                    <a:pt x="2881" y="674"/>
                  </a:lnTo>
                  <a:lnTo>
                    <a:pt x="2875" y="630"/>
                  </a:lnTo>
                  <a:lnTo>
                    <a:pt x="2866" y="586"/>
                  </a:lnTo>
                  <a:lnTo>
                    <a:pt x="2855" y="544"/>
                  </a:lnTo>
                  <a:lnTo>
                    <a:pt x="2842" y="504"/>
                  </a:lnTo>
                  <a:lnTo>
                    <a:pt x="2827" y="465"/>
                  </a:lnTo>
                  <a:lnTo>
                    <a:pt x="2810" y="428"/>
                  </a:lnTo>
                  <a:lnTo>
                    <a:pt x="2790" y="392"/>
                  </a:lnTo>
                  <a:lnTo>
                    <a:pt x="2769" y="357"/>
                  </a:lnTo>
                  <a:lnTo>
                    <a:pt x="2745" y="325"/>
                  </a:lnTo>
                  <a:lnTo>
                    <a:pt x="2718" y="293"/>
                  </a:lnTo>
                  <a:lnTo>
                    <a:pt x="2689" y="263"/>
                  </a:lnTo>
                  <a:lnTo>
                    <a:pt x="2659" y="235"/>
                  </a:lnTo>
                  <a:lnTo>
                    <a:pt x="2626" y="209"/>
                  </a:lnTo>
                  <a:lnTo>
                    <a:pt x="2590" y="184"/>
                  </a:lnTo>
                  <a:lnTo>
                    <a:pt x="2551" y="160"/>
                  </a:lnTo>
                  <a:lnTo>
                    <a:pt x="2510" y="139"/>
                  </a:lnTo>
                  <a:lnTo>
                    <a:pt x="2467" y="118"/>
                  </a:lnTo>
                  <a:lnTo>
                    <a:pt x="2420" y="100"/>
                  </a:lnTo>
                  <a:lnTo>
                    <a:pt x="2372" y="83"/>
                  </a:lnTo>
                  <a:lnTo>
                    <a:pt x="2321" y="67"/>
                  </a:lnTo>
                  <a:lnTo>
                    <a:pt x="2266" y="53"/>
                  </a:lnTo>
                  <a:lnTo>
                    <a:pt x="2209" y="40"/>
                  </a:lnTo>
                  <a:lnTo>
                    <a:pt x="2149" y="30"/>
                  </a:lnTo>
                  <a:lnTo>
                    <a:pt x="2088" y="21"/>
                  </a:lnTo>
                  <a:lnTo>
                    <a:pt x="2022" y="14"/>
                  </a:lnTo>
                  <a:lnTo>
                    <a:pt x="1954" y="8"/>
                  </a:lnTo>
                  <a:lnTo>
                    <a:pt x="1882" y="4"/>
                  </a:lnTo>
                  <a:lnTo>
                    <a:pt x="1808" y="2"/>
                  </a:lnTo>
                  <a:lnTo>
                    <a:pt x="1731" y="0"/>
                  </a:lnTo>
                  <a:lnTo>
                    <a:pt x="1590" y="0"/>
                  </a:lnTo>
                  <a:lnTo>
                    <a:pt x="1444" y="0"/>
                  </a:lnTo>
                  <a:lnTo>
                    <a:pt x="1296" y="0"/>
                  </a:lnTo>
                  <a:lnTo>
                    <a:pt x="1147" y="0"/>
                  </a:lnTo>
                  <a:lnTo>
                    <a:pt x="1000" y="0"/>
                  </a:lnTo>
                  <a:lnTo>
                    <a:pt x="856" y="0"/>
                  </a:lnTo>
                  <a:lnTo>
                    <a:pt x="718" y="0"/>
                  </a:lnTo>
                  <a:lnTo>
                    <a:pt x="586" y="0"/>
                  </a:lnTo>
                  <a:lnTo>
                    <a:pt x="464" y="0"/>
                  </a:lnTo>
                  <a:lnTo>
                    <a:pt x="351" y="0"/>
                  </a:lnTo>
                  <a:lnTo>
                    <a:pt x="252" y="0"/>
                  </a:lnTo>
                  <a:lnTo>
                    <a:pt x="165" y="0"/>
                  </a:lnTo>
                  <a:lnTo>
                    <a:pt x="96" y="0"/>
                  </a:lnTo>
                  <a:lnTo>
                    <a:pt x="43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4" y="36"/>
                  </a:lnTo>
                  <a:lnTo>
                    <a:pt x="48" y="48"/>
                  </a:lnTo>
                  <a:lnTo>
                    <a:pt x="73" y="60"/>
                  </a:lnTo>
                  <a:lnTo>
                    <a:pt x="97" y="73"/>
                  </a:lnTo>
                  <a:lnTo>
                    <a:pt x="120" y="88"/>
                  </a:lnTo>
                  <a:lnTo>
                    <a:pt x="142" y="104"/>
                  </a:lnTo>
                  <a:lnTo>
                    <a:pt x="162" y="120"/>
                  </a:lnTo>
                  <a:lnTo>
                    <a:pt x="182" y="137"/>
                  </a:lnTo>
                  <a:lnTo>
                    <a:pt x="192" y="148"/>
                  </a:lnTo>
                  <a:lnTo>
                    <a:pt x="203" y="160"/>
                  </a:lnTo>
                  <a:lnTo>
                    <a:pt x="214" y="173"/>
                  </a:lnTo>
                  <a:lnTo>
                    <a:pt x="223" y="185"/>
                  </a:lnTo>
                  <a:lnTo>
                    <a:pt x="232" y="197"/>
                  </a:lnTo>
                  <a:lnTo>
                    <a:pt x="241" y="211"/>
                  </a:lnTo>
                  <a:lnTo>
                    <a:pt x="250" y="224"/>
                  </a:lnTo>
                  <a:lnTo>
                    <a:pt x="257" y="238"/>
                  </a:lnTo>
                  <a:lnTo>
                    <a:pt x="271" y="267"/>
                  </a:lnTo>
                  <a:lnTo>
                    <a:pt x="285" y="298"/>
                  </a:lnTo>
                  <a:lnTo>
                    <a:pt x="296" y="330"/>
                  </a:lnTo>
                  <a:lnTo>
                    <a:pt x="306" y="364"/>
                  </a:lnTo>
                  <a:lnTo>
                    <a:pt x="314" y="398"/>
                  </a:lnTo>
                  <a:lnTo>
                    <a:pt x="320" y="435"/>
                  </a:lnTo>
                  <a:lnTo>
                    <a:pt x="327" y="473"/>
                  </a:lnTo>
                  <a:lnTo>
                    <a:pt x="332" y="512"/>
                  </a:lnTo>
                  <a:lnTo>
                    <a:pt x="335" y="553"/>
                  </a:lnTo>
                  <a:lnTo>
                    <a:pt x="337" y="595"/>
                  </a:lnTo>
                  <a:lnTo>
                    <a:pt x="338" y="639"/>
                  </a:lnTo>
                  <a:lnTo>
                    <a:pt x="339" y="685"/>
                  </a:lnTo>
                  <a:lnTo>
                    <a:pt x="339" y="712"/>
                  </a:lnTo>
                  <a:lnTo>
                    <a:pt x="339" y="789"/>
                  </a:lnTo>
                  <a:lnTo>
                    <a:pt x="339" y="909"/>
                  </a:lnTo>
                  <a:lnTo>
                    <a:pt x="339" y="1064"/>
                  </a:lnTo>
                  <a:lnTo>
                    <a:pt x="339" y="1248"/>
                  </a:lnTo>
                  <a:lnTo>
                    <a:pt x="339" y="1453"/>
                  </a:lnTo>
                  <a:lnTo>
                    <a:pt x="339" y="1672"/>
                  </a:lnTo>
                  <a:lnTo>
                    <a:pt x="339" y="1898"/>
                  </a:lnTo>
                  <a:lnTo>
                    <a:pt x="339" y="2124"/>
                  </a:lnTo>
                  <a:lnTo>
                    <a:pt x="339" y="2343"/>
                  </a:lnTo>
                  <a:lnTo>
                    <a:pt x="339" y="2548"/>
                  </a:lnTo>
                  <a:lnTo>
                    <a:pt x="339" y="2731"/>
                  </a:lnTo>
                  <a:lnTo>
                    <a:pt x="339" y="2887"/>
                  </a:lnTo>
                  <a:lnTo>
                    <a:pt x="339" y="3006"/>
                  </a:lnTo>
                  <a:lnTo>
                    <a:pt x="339" y="3082"/>
                  </a:lnTo>
                  <a:lnTo>
                    <a:pt x="339" y="3110"/>
                  </a:lnTo>
                  <a:lnTo>
                    <a:pt x="1058" y="3110"/>
                  </a:lnTo>
                  <a:lnTo>
                    <a:pt x="1058" y="1732"/>
                  </a:lnTo>
                  <a:lnTo>
                    <a:pt x="1065" y="1732"/>
                  </a:lnTo>
                  <a:lnTo>
                    <a:pt x="1084" y="1732"/>
                  </a:lnTo>
                  <a:lnTo>
                    <a:pt x="1113" y="1732"/>
                  </a:lnTo>
                  <a:lnTo>
                    <a:pt x="1149" y="1732"/>
                  </a:lnTo>
                  <a:lnTo>
                    <a:pt x="1191" y="1732"/>
                  </a:lnTo>
                  <a:lnTo>
                    <a:pt x="1234" y="1732"/>
                  </a:lnTo>
                  <a:lnTo>
                    <a:pt x="1279" y="1732"/>
                  </a:lnTo>
                  <a:lnTo>
                    <a:pt x="1321" y="1732"/>
                  </a:lnTo>
                  <a:lnTo>
                    <a:pt x="2336" y="3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2701" y="2250"/>
              <a:ext cx="273" cy="320"/>
            </a:xfrm>
            <a:custGeom>
              <a:avLst/>
              <a:gdLst>
                <a:gd name="T0" fmla="*/ 2376 w 2729"/>
                <a:gd name="T1" fmla="*/ 539 h 3205"/>
                <a:gd name="T2" fmla="*/ 2463 w 2729"/>
                <a:gd name="T3" fmla="*/ 622 h 3205"/>
                <a:gd name="T4" fmla="*/ 2512 w 2729"/>
                <a:gd name="T5" fmla="*/ 691 h 3205"/>
                <a:gd name="T6" fmla="*/ 2537 w 2729"/>
                <a:gd name="T7" fmla="*/ 731 h 3205"/>
                <a:gd name="T8" fmla="*/ 2560 w 2729"/>
                <a:gd name="T9" fmla="*/ 735 h 3205"/>
                <a:gd name="T10" fmla="*/ 2707 w 2729"/>
                <a:gd name="T11" fmla="*/ 194 h 3205"/>
                <a:gd name="T12" fmla="*/ 2596 w 2729"/>
                <a:gd name="T13" fmla="*/ 139 h 3205"/>
                <a:gd name="T14" fmla="*/ 2433 w 2729"/>
                <a:gd name="T15" fmla="*/ 83 h 3205"/>
                <a:gd name="T16" fmla="*/ 2287 w 2729"/>
                <a:gd name="T17" fmla="*/ 47 h 3205"/>
                <a:gd name="T18" fmla="*/ 2106 w 2729"/>
                <a:gd name="T19" fmla="*/ 20 h 3205"/>
                <a:gd name="T20" fmla="*/ 1891 w 2729"/>
                <a:gd name="T21" fmla="*/ 3 h 3205"/>
                <a:gd name="T22" fmla="*/ 1583 w 2729"/>
                <a:gd name="T23" fmla="*/ 6 h 3205"/>
                <a:gd name="T24" fmla="*/ 1231 w 2729"/>
                <a:gd name="T25" fmla="*/ 56 h 3205"/>
                <a:gd name="T26" fmla="*/ 911 w 2729"/>
                <a:gd name="T27" fmla="*/ 153 h 3205"/>
                <a:gd name="T28" fmla="*/ 629 w 2729"/>
                <a:gd name="T29" fmla="*/ 302 h 3205"/>
                <a:gd name="T30" fmla="*/ 393 w 2729"/>
                <a:gd name="T31" fmla="*/ 502 h 3205"/>
                <a:gd name="T32" fmla="*/ 206 w 2729"/>
                <a:gd name="T33" fmla="*/ 754 h 3205"/>
                <a:gd name="T34" fmla="*/ 77 w 2729"/>
                <a:gd name="T35" fmla="*/ 1061 h 3205"/>
                <a:gd name="T36" fmla="*/ 9 w 2729"/>
                <a:gd name="T37" fmla="*/ 1423 h 3205"/>
                <a:gd name="T38" fmla="*/ 10 w 2729"/>
                <a:gd name="T39" fmla="*/ 1849 h 3205"/>
                <a:gd name="T40" fmla="*/ 88 w 2729"/>
                <a:gd name="T41" fmla="*/ 2237 h 3205"/>
                <a:gd name="T42" fmla="*/ 234 w 2729"/>
                <a:gd name="T43" fmla="*/ 2548 h 3205"/>
                <a:gd name="T44" fmla="*/ 434 w 2729"/>
                <a:gd name="T45" fmla="*/ 2789 h 3205"/>
                <a:gd name="T46" fmla="*/ 677 w 2729"/>
                <a:gd name="T47" fmla="*/ 2968 h 3205"/>
                <a:gd name="T48" fmla="*/ 952 w 2729"/>
                <a:gd name="T49" fmla="*/ 3093 h 3205"/>
                <a:gd name="T50" fmla="*/ 1246 w 2729"/>
                <a:gd name="T51" fmla="*/ 3167 h 3205"/>
                <a:gd name="T52" fmla="*/ 1548 w 2729"/>
                <a:gd name="T53" fmla="*/ 3202 h 3205"/>
                <a:gd name="T54" fmla="*/ 1832 w 2729"/>
                <a:gd name="T55" fmla="*/ 3203 h 3205"/>
                <a:gd name="T56" fmla="*/ 2068 w 2729"/>
                <a:gd name="T57" fmla="*/ 3184 h 3205"/>
                <a:gd name="T58" fmla="*/ 2265 w 2729"/>
                <a:gd name="T59" fmla="*/ 3152 h 3205"/>
                <a:gd name="T60" fmla="*/ 2425 w 2729"/>
                <a:gd name="T61" fmla="*/ 3110 h 3205"/>
                <a:gd name="T62" fmla="*/ 2549 w 2729"/>
                <a:gd name="T63" fmla="*/ 3067 h 3205"/>
                <a:gd name="T64" fmla="*/ 2639 w 2729"/>
                <a:gd name="T65" fmla="*/ 3026 h 3205"/>
                <a:gd name="T66" fmla="*/ 2716 w 2729"/>
                <a:gd name="T67" fmla="*/ 2981 h 3205"/>
                <a:gd name="T68" fmla="*/ 2726 w 2729"/>
                <a:gd name="T69" fmla="*/ 2608 h 3205"/>
                <a:gd name="T70" fmla="*/ 2651 w 2729"/>
                <a:gd name="T71" fmla="*/ 2663 h 3205"/>
                <a:gd name="T72" fmla="*/ 2552 w 2729"/>
                <a:gd name="T73" fmla="*/ 2717 h 3205"/>
                <a:gd name="T74" fmla="*/ 2445 w 2729"/>
                <a:gd name="T75" fmla="*/ 2762 h 3205"/>
                <a:gd name="T76" fmla="*/ 2310 w 2729"/>
                <a:gd name="T77" fmla="*/ 2803 h 3205"/>
                <a:gd name="T78" fmla="*/ 2148 w 2729"/>
                <a:gd name="T79" fmla="*/ 2834 h 3205"/>
                <a:gd name="T80" fmla="*/ 1959 w 2729"/>
                <a:gd name="T81" fmla="*/ 2849 h 3205"/>
                <a:gd name="T82" fmla="*/ 1772 w 2729"/>
                <a:gd name="T83" fmla="*/ 2844 h 3205"/>
                <a:gd name="T84" fmla="*/ 1581 w 2729"/>
                <a:gd name="T85" fmla="*/ 2814 h 3205"/>
                <a:gd name="T86" fmla="*/ 1388 w 2729"/>
                <a:gd name="T87" fmla="*/ 2750 h 3205"/>
                <a:gd name="T88" fmla="*/ 1203 w 2729"/>
                <a:gd name="T89" fmla="*/ 2648 h 3205"/>
                <a:gd name="T90" fmla="*/ 1037 w 2729"/>
                <a:gd name="T91" fmla="*/ 2499 h 3205"/>
                <a:gd name="T92" fmla="*/ 900 w 2729"/>
                <a:gd name="T93" fmla="*/ 2297 h 3205"/>
                <a:gd name="T94" fmla="*/ 802 w 2729"/>
                <a:gd name="T95" fmla="*/ 2033 h 3205"/>
                <a:gd name="T96" fmla="*/ 752 w 2729"/>
                <a:gd name="T97" fmla="*/ 1701 h 3205"/>
                <a:gd name="T98" fmla="*/ 756 w 2729"/>
                <a:gd name="T99" fmla="*/ 1355 h 3205"/>
                <a:gd name="T100" fmla="*/ 800 w 2729"/>
                <a:gd name="T101" fmla="*/ 1070 h 3205"/>
                <a:gd name="T102" fmla="*/ 876 w 2729"/>
                <a:gd name="T103" fmla="*/ 838 h 3205"/>
                <a:gd name="T104" fmla="*/ 983 w 2729"/>
                <a:gd name="T105" fmla="*/ 656 h 3205"/>
                <a:gd name="T106" fmla="*/ 1119 w 2729"/>
                <a:gd name="T107" fmla="*/ 519 h 3205"/>
                <a:gd name="T108" fmla="*/ 1279 w 2729"/>
                <a:gd name="T109" fmla="*/ 424 h 3205"/>
                <a:gd name="T110" fmla="*/ 1459 w 2729"/>
                <a:gd name="T111" fmla="*/ 366 h 3205"/>
                <a:gd name="T112" fmla="*/ 1657 w 2729"/>
                <a:gd name="T113" fmla="*/ 344 h 3205"/>
                <a:gd name="T114" fmla="*/ 1869 w 2729"/>
                <a:gd name="T115" fmla="*/ 350 h 3205"/>
                <a:gd name="T116" fmla="*/ 2037 w 2729"/>
                <a:gd name="T117" fmla="*/ 377 h 3205"/>
                <a:gd name="T118" fmla="*/ 2164 w 2729"/>
                <a:gd name="T119" fmla="*/ 418 h 3205"/>
                <a:gd name="T120" fmla="*/ 2261 w 2729"/>
                <a:gd name="T121" fmla="*/ 463 h 3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9" h="3205">
                  <a:moveTo>
                    <a:pt x="2281" y="474"/>
                  </a:moveTo>
                  <a:lnTo>
                    <a:pt x="2315" y="496"/>
                  </a:lnTo>
                  <a:lnTo>
                    <a:pt x="2347" y="516"/>
                  </a:lnTo>
                  <a:lnTo>
                    <a:pt x="2376" y="539"/>
                  </a:lnTo>
                  <a:lnTo>
                    <a:pt x="2402" y="560"/>
                  </a:lnTo>
                  <a:lnTo>
                    <a:pt x="2424" y="581"/>
                  </a:lnTo>
                  <a:lnTo>
                    <a:pt x="2445" y="602"/>
                  </a:lnTo>
                  <a:lnTo>
                    <a:pt x="2463" y="622"/>
                  </a:lnTo>
                  <a:lnTo>
                    <a:pt x="2479" y="641"/>
                  </a:lnTo>
                  <a:lnTo>
                    <a:pt x="2492" y="660"/>
                  </a:lnTo>
                  <a:lnTo>
                    <a:pt x="2503" y="675"/>
                  </a:lnTo>
                  <a:lnTo>
                    <a:pt x="2512" y="691"/>
                  </a:lnTo>
                  <a:lnTo>
                    <a:pt x="2521" y="703"/>
                  </a:lnTo>
                  <a:lnTo>
                    <a:pt x="2530" y="720"/>
                  </a:lnTo>
                  <a:lnTo>
                    <a:pt x="2533" y="726"/>
                  </a:lnTo>
                  <a:lnTo>
                    <a:pt x="2537" y="731"/>
                  </a:lnTo>
                  <a:lnTo>
                    <a:pt x="2542" y="733"/>
                  </a:lnTo>
                  <a:lnTo>
                    <a:pt x="2546" y="734"/>
                  </a:lnTo>
                  <a:lnTo>
                    <a:pt x="2551" y="735"/>
                  </a:lnTo>
                  <a:lnTo>
                    <a:pt x="2560" y="735"/>
                  </a:lnTo>
                  <a:lnTo>
                    <a:pt x="2563" y="735"/>
                  </a:lnTo>
                  <a:lnTo>
                    <a:pt x="2720" y="202"/>
                  </a:lnTo>
                  <a:lnTo>
                    <a:pt x="2717" y="200"/>
                  </a:lnTo>
                  <a:lnTo>
                    <a:pt x="2707" y="194"/>
                  </a:lnTo>
                  <a:lnTo>
                    <a:pt x="2689" y="184"/>
                  </a:lnTo>
                  <a:lnTo>
                    <a:pt x="2665" y="171"/>
                  </a:lnTo>
                  <a:lnTo>
                    <a:pt x="2634" y="156"/>
                  </a:lnTo>
                  <a:lnTo>
                    <a:pt x="2596" y="139"/>
                  </a:lnTo>
                  <a:lnTo>
                    <a:pt x="2549" y="120"/>
                  </a:lnTo>
                  <a:lnTo>
                    <a:pt x="2496" y="102"/>
                  </a:lnTo>
                  <a:lnTo>
                    <a:pt x="2465" y="93"/>
                  </a:lnTo>
                  <a:lnTo>
                    <a:pt x="2433" y="83"/>
                  </a:lnTo>
                  <a:lnTo>
                    <a:pt x="2399" y="74"/>
                  </a:lnTo>
                  <a:lnTo>
                    <a:pt x="2365" y="65"/>
                  </a:lnTo>
                  <a:lnTo>
                    <a:pt x="2327" y="57"/>
                  </a:lnTo>
                  <a:lnTo>
                    <a:pt x="2287" y="47"/>
                  </a:lnTo>
                  <a:lnTo>
                    <a:pt x="2244" y="40"/>
                  </a:lnTo>
                  <a:lnTo>
                    <a:pt x="2200" y="32"/>
                  </a:lnTo>
                  <a:lnTo>
                    <a:pt x="2154" y="26"/>
                  </a:lnTo>
                  <a:lnTo>
                    <a:pt x="2106" y="20"/>
                  </a:lnTo>
                  <a:lnTo>
                    <a:pt x="2055" y="15"/>
                  </a:lnTo>
                  <a:lnTo>
                    <a:pt x="2003" y="10"/>
                  </a:lnTo>
                  <a:lnTo>
                    <a:pt x="1948" y="6"/>
                  </a:lnTo>
                  <a:lnTo>
                    <a:pt x="1891" y="3"/>
                  </a:lnTo>
                  <a:lnTo>
                    <a:pt x="1832" y="1"/>
                  </a:lnTo>
                  <a:lnTo>
                    <a:pt x="1770" y="0"/>
                  </a:lnTo>
                  <a:lnTo>
                    <a:pt x="1676" y="2"/>
                  </a:lnTo>
                  <a:lnTo>
                    <a:pt x="1583" y="6"/>
                  </a:lnTo>
                  <a:lnTo>
                    <a:pt x="1493" y="15"/>
                  </a:lnTo>
                  <a:lnTo>
                    <a:pt x="1403" y="25"/>
                  </a:lnTo>
                  <a:lnTo>
                    <a:pt x="1316" y="38"/>
                  </a:lnTo>
                  <a:lnTo>
                    <a:pt x="1231" y="56"/>
                  </a:lnTo>
                  <a:lnTo>
                    <a:pt x="1148" y="75"/>
                  </a:lnTo>
                  <a:lnTo>
                    <a:pt x="1067" y="98"/>
                  </a:lnTo>
                  <a:lnTo>
                    <a:pt x="988" y="124"/>
                  </a:lnTo>
                  <a:lnTo>
                    <a:pt x="911" y="153"/>
                  </a:lnTo>
                  <a:lnTo>
                    <a:pt x="837" y="186"/>
                  </a:lnTo>
                  <a:lnTo>
                    <a:pt x="765" y="221"/>
                  </a:lnTo>
                  <a:lnTo>
                    <a:pt x="696" y="260"/>
                  </a:lnTo>
                  <a:lnTo>
                    <a:pt x="629" y="302"/>
                  </a:lnTo>
                  <a:lnTo>
                    <a:pt x="565" y="346"/>
                  </a:lnTo>
                  <a:lnTo>
                    <a:pt x="505" y="395"/>
                  </a:lnTo>
                  <a:lnTo>
                    <a:pt x="447" y="446"/>
                  </a:lnTo>
                  <a:lnTo>
                    <a:pt x="393" y="502"/>
                  </a:lnTo>
                  <a:lnTo>
                    <a:pt x="342" y="559"/>
                  </a:lnTo>
                  <a:lnTo>
                    <a:pt x="293" y="621"/>
                  </a:lnTo>
                  <a:lnTo>
                    <a:pt x="248" y="686"/>
                  </a:lnTo>
                  <a:lnTo>
                    <a:pt x="206" y="754"/>
                  </a:lnTo>
                  <a:lnTo>
                    <a:pt x="168" y="826"/>
                  </a:lnTo>
                  <a:lnTo>
                    <a:pt x="134" y="901"/>
                  </a:lnTo>
                  <a:lnTo>
                    <a:pt x="103" y="979"/>
                  </a:lnTo>
                  <a:lnTo>
                    <a:pt x="77" y="1061"/>
                  </a:lnTo>
                  <a:lnTo>
                    <a:pt x="53" y="1146"/>
                  </a:lnTo>
                  <a:lnTo>
                    <a:pt x="35" y="1235"/>
                  </a:lnTo>
                  <a:lnTo>
                    <a:pt x="19" y="1327"/>
                  </a:lnTo>
                  <a:lnTo>
                    <a:pt x="9" y="1423"/>
                  </a:lnTo>
                  <a:lnTo>
                    <a:pt x="2" y="1521"/>
                  </a:lnTo>
                  <a:lnTo>
                    <a:pt x="0" y="1624"/>
                  </a:lnTo>
                  <a:lnTo>
                    <a:pt x="3" y="1740"/>
                  </a:lnTo>
                  <a:lnTo>
                    <a:pt x="10" y="1849"/>
                  </a:lnTo>
                  <a:lnTo>
                    <a:pt x="22" y="1954"/>
                  </a:lnTo>
                  <a:lnTo>
                    <a:pt x="41" y="2053"/>
                  </a:lnTo>
                  <a:lnTo>
                    <a:pt x="62" y="2148"/>
                  </a:lnTo>
                  <a:lnTo>
                    <a:pt x="88" y="2237"/>
                  </a:lnTo>
                  <a:lnTo>
                    <a:pt x="119" y="2321"/>
                  </a:lnTo>
                  <a:lnTo>
                    <a:pt x="154" y="2401"/>
                  </a:lnTo>
                  <a:lnTo>
                    <a:pt x="192" y="2477"/>
                  </a:lnTo>
                  <a:lnTo>
                    <a:pt x="234" y="2548"/>
                  </a:lnTo>
                  <a:lnTo>
                    <a:pt x="279" y="2615"/>
                  </a:lnTo>
                  <a:lnTo>
                    <a:pt x="327" y="2676"/>
                  </a:lnTo>
                  <a:lnTo>
                    <a:pt x="379" y="2735"/>
                  </a:lnTo>
                  <a:lnTo>
                    <a:pt x="434" y="2789"/>
                  </a:lnTo>
                  <a:lnTo>
                    <a:pt x="491" y="2839"/>
                  </a:lnTo>
                  <a:lnTo>
                    <a:pt x="551" y="2886"/>
                  </a:lnTo>
                  <a:lnTo>
                    <a:pt x="613" y="2928"/>
                  </a:lnTo>
                  <a:lnTo>
                    <a:pt x="677" y="2968"/>
                  </a:lnTo>
                  <a:lnTo>
                    <a:pt x="743" y="3004"/>
                  </a:lnTo>
                  <a:lnTo>
                    <a:pt x="811" y="3037"/>
                  </a:lnTo>
                  <a:lnTo>
                    <a:pt x="881" y="3066"/>
                  </a:lnTo>
                  <a:lnTo>
                    <a:pt x="952" y="3093"/>
                  </a:lnTo>
                  <a:lnTo>
                    <a:pt x="1023" y="3115"/>
                  </a:lnTo>
                  <a:lnTo>
                    <a:pt x="1097" y="3136"/>
                  </a:lnTo>
                  <a:lnTo>
                    <a:pt x="1171" y="3153"/>
                  </a:lnTo>
                  <a:lnTo>
                    <a:pt x="1246" y="3167"/>
                  </a:lnTo>
                  <a:lnTo>
                    <a:pt x="1321" y="3180"/>
                  </a:lnTo>
                  <a:lnTo>
                    <a:pt x="1397" y="3190"/>
                  </a:lnTo>
                  <a:lnTo>
                    <a:pt x="1472" y="3197"/>
                  </a:lnTo>
                  <a:lnTo>
                    <a:pt x="1548" y="3202"/>
                  </a:lnTo>
                  <a:lnTo>
                    <a:pt x="1623" y="3205"/>
                  </a:lnTo>
                  <a:lnTo>
                    <a:pt x="1698" y="3205"/>
                  </a:lnTo>
                  <a:lnTo>
                    <a:pt x="1766" y="3205"/>
                  </a:lnTo>
                  <a:lnTo>
                    <a:pt x="1832" y="3203"/>
                  </a:lnTo>
                  <a:lnTo>
                    <a:pt x="1894" y="3200"/>
                  </a:lnTo>
                  <a:lnTo>
                    <a:pt x="1955" y="3196"/>
                  </a:lnTo>
                  <a:lnTo>
                    <a:pt x="2012" y="3191"/>
                  </a:lnTo>
                  <a:lnTo>
                    <a:pt x="2068" y="3184"/>
                  </a:lnTo>
                  <a:lnTo>
                    <a:pt x="2121" y="3178"/>
                  </a:lnTo>
                  <a:lnTo>
                    <a:pt x="2172" y="3169"/>
                  </a:lnTo>
                  <a:lnTo>
                    <a:pt x="2220" y="3161"/>
                  </a:lnTo>
                  <a:lnTo>
                    <a:pt x="2265" y="3152"/>
                  </a:lnTo>
                  <a:lnTo>
                    <a:pt x="2308" y="3142"/>
                  </a:lnTo>
                  <a:lnTo>
                    <a:pt x="2350" y="3132"/>
                  </a:lnTo>
                  <a:lnTo>
                    <a:pt x="2388" y="3121"/>
                  </a:lnTo>
                  <a:lnTo>
                    <a:pt x="2425" y="3110"/>
                  </a:lnTo>
                  <a:lnTo>
                    <a:pt x="2459" y="3100"/>
                  </a:lnTo>
                  <a:lnTo>
                    <a:pt x="2491" y="3088"/>
                  </a:lnTo>
                  <a:lnTo>
                    <a:pt x="2521" y="3077"/>
                  </a:lnTo>
                  <a:lnTo>
                    <a:pt x="2549" y="3067"/>
                  </a:lnTo>
                  <a:lnTo>
                    <a:pt x="2574" y="3056"/>
                  </a:lnTo>
                  <a:lnTo>
                    <a:pt x="2598" y="3045"/>
                  </a:lnTo>
                  <a:lnTo>
                    <a:pt x="2619" y="3035"/>
                  </a:lnTo>
                  <a:lnTo>
                    <a:pt x="2639" y="3026"/>
                  </a:lnTo>
                  <a:lnTo>
                    <a:pt x="2656" y="3017"/>
                  </a:lnTo>
                  <a:lnTo>
                    <a:pt x="2673" y="3007"/>
                  </a:lnTo>
                  <a:lnTo>
                    <a:pt x="2697" y="2993"/>
                  </a:lnTo>
                  <a:lnTo>
                    <a:pt x="2716" y="2981"/>
                  </a:lnTo>
                  <a:lnTo>
                    <a:pt x="2726" y="2974"/>
                  </a:lnTo>
                  <a:lnTo>
                    <a:pt x="2729" y="2970"/>
                  </a:lnTo>
                  <a:lnTo>
                    <a:pt x="2729" y="2606"/>
                  </a:lnTo>
                  <a:lnTo>
                    <a:pt x="2726" y="2608"/>
                  </a:lnTo>
                  <a:lnTo>
                    <a:pt x="2717" y="2617"/>
                  </a:lnTo>
                  <a:lnTo>
                    <a:pt x="2701" y="2629"/>
                  </a:lnTo>
                  <a:lnTo>
                    <a:pt x="2680" y="2644"/>
                  </a:lnTo>
                  <a:lnTo>
                    <a:pt x="2651" y="2663"/>
                  </a:lnTo>
                  <a:lnTo>
                    <a:pt x="2617" y="2683"/>
                  </a:lnTo>
                  <a:lnTo>
                    <a:pt x="2598" y="2695"/>
                  </a:lnTo>
                  <a:lnTo>
                    <a:pt x="2576" y="2705"/>
                  </a:lnTo>
                  <a:lnTo>
                    <a:pt x="2552" y="2717"/>
                  </a:lnTo>
                  <a:lnTo>
                    <a:pt x="2529" y="2728"/>
                  </a:lnTo>
                  <a:lnTo>
                    <a:pt x="2502" y="2740"/>
                  </a:lnTo>
                  <a:lnTo>
                    <a:pt x="2474" y="2751"/>
                  </a:lnTo>
                  <a:lnTo>
                    <a:pt x="2445" y="2762"/>
                  </a:lnTo>
                  <a:lnTo>
                    <a:pt x="2414" y="2773"/>
                  </a:lnTo>
                  <a:lnTo>
                    <a:pt x="2381" y="2784"/>
                  </a:lnTo>
                  <a:lnTo>
                    <a:pt x="2346" y="2794"/>
                  </a:lnTo>
                  <a:lnTo>
                    <a:pt x="2310" y="2803"/>
                  </a:lnTo>
                  <a:lnTo>
                    <a:pt x="2272" y="2812"/>
                  </a:lnTo>
                  <a:lnTo>
                    <a:pt x="2232" y="2821"/>
                  </a:lnTo>
                  <a:lnTo>
                    <a:pt x="2191" y="2828"/>
                  </a:lnTo>
                  <a:lnTo>
                    <a:pt x="2148" y="2834"/>
                  </a:lnTo>
                  <a:lnTo>
                    <a:pt x="2104" y="2839"/>
                  </a:lnTo>
                  <a:lnTo>
                    <a:pt x="2057" y="2844"/>
                  </a:lnTo>
                  <a:lnTo>
                    <a:pt x="2009" y="2847"/>
                  </a:lnTo>
                  <a:lnTo>
                    <a:pt x="1959" y="2849"/>
                  </a:lnTo>
                  <a:lnTo>
                    <a:pt x="1908" y="2849"/>
                  </a:lnTo>
                  <a:lnTo>
                    <a:pt x="1862" y="2849"/>
                  </a:lnTo>
                  <a:lnTo>
                    <a:pt x="1818" y="2847"/>
                  </a:lnTo>
                  <a:lnTo>
                    <a:pt x="1772" y="2844"/>
                  </a:lnTo>
                  <a:lnTo>
                    <a:pt x="1725" y="2839"/>
                  </a:lnTo>
                  <a:lnTo>
                    <a:pt x="1678" y="2832"/>
                  </a:lnTo>
                  <a:lnTo>
                    <a:pt x="1629" y="2824"/>
                  </a:lnTo>
                  <a:lnTo>
                    <a:pt x="1581" y="2814"/>
                  </a:lnTo>
                  <a:lnTo>
                    <a:pt x="1533" y="2801"/>
                  </a:lnTo>
                  <a:lnTo>
                    <a:pt x="1485" y="2787"/>
                  </a:lnTo>
                  <a:lnTo>
                    <a:pt x="1436" y="2769"/>
                  </a:lnTo>
                  <a:lnTo>
                    <a:pt x="1388" y="2750"/>
                  </a:lnTo>
                  <a:lnTo>
                    <a:pt x="1341" y="2728"/>
                  </a:lnTo>
                  <a:lnTo>
                    <a:pt x="1295" y="2705"/>
                  </a:lnTo>
                  <a:lnTo>
                    <a:pt x="1248" y="2678"/>
                  </a:lnTo>
                  <a:lnTo>
                    <a:pt x="1203" y="2648"/>
                  </a:lnTo>
                  <a:lnTo>
                    <a:pt x="1160" y="2616"/>
                  </a:lnTo>
                  <a:lnTo>
                    <a:pt x="1118" y="2580"/>
                  </a:lnTo>
                  <a:lnTo>
                    <a:pt x="1077" y="2541"/>
                  </a:lnTo>
                  <a:lnTo>
                    <a:pt x="1037" y="2499"/>
                  </a:lnTo>
                  <a:lnTo>
                    <a:pt x="1000" y="2454"/>
                  </a:lnTo>
                  <a:lnTo>
                    <a:pt x="964" y="2405"/>
                  </a:lnTo>
                  <a:lnTo>
                    <a:pt x="931" y="2352"/>
                  </a:lnTo>
                  <a:lnTo>
                    <a:pt x="900" y="2297"/>
                  </a:lnTo>
                  <a:lnTo>
                    <a:pt x="871" y="2236"/>
                  </a:lnTo>
                  <a:lnTo>
                    <a:pt x="845" y="2173"/>
                  </a:lnTo>
                  <a:lnTo>
                    <a:pt x="822" y="2105"/>
                  </a:lnTo>
                  <a:lnTo>
                    <a:pt x="802" y="2033"/>
                  </a:lnTo>
                  <a:lnTo>
                    <a:pt x="784" y="1956"/>
                  </a:lnTo>
                  <a:lnTo>
                    <a:pt x="770" y="1876"/>
                  </a:lnTo>
                  <a:lnTo>
                    <a:pt x="760" y="1790"/>
                  </a:lnTo>
                  <a:lnTo>
                    <a:pt x="752" y="1701"/>
                  </a:lnTo>
                  <a:lnTo>
                    <a:pt x="749" y="1606"/>
                  </a:lnTo>
                  <a:lnTo>
                    <a:pt x="749" y="1519"/>
                  </a:lnTo>
                  <a:lnTo>
                    <a:pt x="752" y="1435"/>
                  </a:lnTo>
                  <a:lnTo>
                    <a:pt x="756" y="1355"/>
                  </a:lnTo>
                  <a:lnTo>
                    <a:pt x="764" y="1278"/>
                  </a:lnTo>
                  <a:lnTo>
                    <a:pt x="773" y="1205"/>
                  </a:lnTo>
                  <a:lnTo>
                    <a:pt x="785" y="1136"/>
                  </a:lnTo>
                  <a:lnTo>
                    <a:pt x="800" y="1070"/>
                  </a:lnTo>
                  <a:lnTo>
                    <a:pt x="815" y="1007"/>
                  </a:lnTo>
                  <a:lnTo>
                    <a:pt x="833" y="948"/>
                  </a:lnTo>
                  <a:lnTo>
                    <a:pt x="854" y="892"/>
                  </a:lnTo>
                  <a:lnTo>
                    <a:pt x="876" y="838"/>
                  </a:lnTo>
                  <a:lnTo>
                    <a:pt x="900" y="788"/>
                  </a:lnTo>
                  <a:lnTo>
                    <a:pt x="926" y="741"/>
                  </a:lnTo>
                  <a:lnTo>
                    <a:pt x="954" y="697"/>
                  </a:lnTo>
                  <a:lnTo>
                    <a:pt x="983" y="656"/>
                  </a:lnTo>
                  <a:lnTo>
                    <a:pt x="1015" y="618"/>
                  </a:lnTo>
                  <a:lnTo>
                    <a:pt x="1048" y="582"/>
                  </a:lnTo>
                  <a:lnTo>
                    <a:pt x="1083" y="549"/>
                  </a:lnTo>
                  <a:lnTo>
                    <a:pt x="1119" y="519"/>
                  </a:lnTo>
                  <a:lnTo>
                    <a:pt x="1157" y="492"/>
                  </a:lnTo>
                  <a:lnTo>
                    <a:pt x="1196" y="467"/>
                  </a:lnTo>
                  <a:lnTo>
                    <a:pt x="1237" y="444"/>
                  </a:lnTo>
                  <a:lnTo>
                    <a:pt x="1279" y="424"/>
                  </a:lnTo>
                  <a:lnTo>
                    <a:pt x="1322" y="406"/>
                  </a:lnTo>
                  <a:lnTo>
                    <a:pt x="1366" y="391"/>
                  </a:lnTo>
                  <a:lnTo>
                    <a:pt x="1413" y="378"/>
                  </a:lnTo>
                  <a:lnTo>
                    <a:pt x="1459" y="366"/>
                  </a:lnTo>
                  <a:lnTo>
                    <a:pt x="1507" y="358"/>
                  </a:lnTo>
                  <a:lnTo>
                    <a:pt x="1556" y="351"/>
                  </a:lnTo>
                  <a:lnTo>
                    <a:pt x="1607" y="346"/>
                  </a:lnTo>
                  <a:lnTo>
                    <a:pt x="1657" y="344"/>
                  </a:lnTo>
                  <a:lnTo>
                    <a:pt x="1709" y="343"/>
                  </a:lnTo>
                  <a:lnTo>
                    <a:pt x="1766" y="344"/>
                  </a:lnTo>
                  <a:lnTo>
                    <a:pt x="1819" y="346"/>
                  </a:lnTo>
                  <a:lnTo>
                    <a:pt x="1869" y="350"/>
                  </a:lnTo>
                  <a:lnTo>
                    <a:pt x="1915" y="355"/>
                  </a:lnTo>
                  <a:lnTo>
                    <a:pt x="1958" y="361"/>
                  </a:lnTo>
                  <a:lnTo>
                    <a:pt x="1999" y="368"/>
                  </a:lnTo>
                  <a:lnTo>
                    <a:pt x="2037" y="377"/>
                  </a:lnTo>
                  <a:lnTo>
                    <a:pt x="2072" y="386"/>
                  </a:lnTo>
                  <a:lnTo>
                    <a:pt x="2105" y="396"/>
                  </a:lnTo>
                  <a:lnTo>
                    <a:pt x="2136" y="406"/>
                  </a:lnTo>
                  <a:lnTo>
                    <a:pt x="2164" y="418"/>
                  </a:lnTo>
                  <a:lnTo>
                    <a:pt x="2191" y="429"/>
                  </a:lnTo>
                  <a:lnTo>
                    <a:pt x="2216" y="440"/>
                  </a:lnTo>
                  <a:lnTo>
                    <a:pt x="2239" y="452"/>
                  </a:lnTo>
                  <a:lnTo>
                    <a:pt x="2261" y="463"/>
                  </a:lnTo>
                  <a:lnTo>
                    <a:pt x="2281" y="4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/>
          </p:nvSpPr>
          <p:spPr bwMode="auto">
            <a:xfrm>
              <a:off x="3128" y="2532"/>
              <a:ext cx="155" cy="156"/>
            </a:xfrm>
            <a:custGeom>
              <a:avLst/>
              <a:gdLst>
                <a:gd name="T0" fmla="*/ 833 w 1550"/>
                <a:gd name="T1" fmla="*/ 702 h 1556"/>
                <a:gd name="T2" fmla="*/ 890 w 1550"/>
                <a:gd name="T3" fmla="*/ 645 h 1556"/>
                <a:gd name="T4" fmla="*/ 893 w 1550"/>
                <a:gd name="T5" fmla="*/ 551 h 1556"/>
                <a:gd name="T6" fmla="*/ 864 w 1550"/>
                <a:gd name="T7" fmla="*/ 505 h 1556"/>
                <a:gd name="T8" fmla="*/ 768 w 1550"/>
                <a:gd name="T9" fmla="*/ 478 h 1556"/>
                <a:gd name="T10" fmla="*/ 869 w 1550"/>
                <a:gd name="T11" fmla="*/ 339 h 1556"/>
                <a:gd name="T12" fmla="*/ 955 w 1550"/>
                <a:gd name="T13" fmla="*/ 365 h 1556"/>
                <a:gd name="T14" fmla="*/ 1022 w 1550"/>
                <a:gd name="T15" fmla="*/ 416 h 1556"/>
                <a:gd name="T16" fmla="*/ 1066 w 1550"/>
                <a:gd name="T17" fmla="*/ 487 h 1556"/>
                <a:gd name="T18" fmla="*/ 1085 w 1550"/>
                <a:gd name="T19" fmla="*/ 577 h 1556"/>
                <a:gd name="T20" fmla="*/ 1052 w 1550"/>
                <a:gd name="T21" fmla="*/ 725 h 1556"/>
                <a:gd name="T22" fmla="*/ 983 w 1550"/>
                <a:gd name="T23" fmla="*/ 802 h 1556"/>
                <a:gd name="T24" fmla="*/ 910 w 1550"/>
                <a:gd name="T25" fmla="*/ 831 h 1556"/>
                <a:gd name="T26" fmla="*/ 949 w 1550"/>
                <a:gd name="T27" fmla="*/ 902 h 1556"/>
                <a:gd name="T28" fmla="*/ 1135 w 1550"/>
                <a:gd name="T29" fmla="*/ 1208 h 1556"/>
                <a:gd name="T30" fmla="*/ 792 w 1550"/>
                <a:gd name="T31" fmla="*/ 967 h 1556"/>
                <a:gd name="T32" fmla="*/ 708 w 1550"/>
                <a:gd name="T33" fmla="*/ 854 h 1556"/>
                <a:gd name="T34" fmla="*/ 827 w 1550"/>
                <a:gd name="T35" fmla="*/ 336 h 1556"/>
                <a:gd name="T36" fmla="*/ 597 w 1550"/>
                <a:gd name="T37" fmla="*/ 182 h 1556"/>
                <a:gd name="T38" fmla="*/ 417 w 1550"/>
                <a:gd name="T39" fmla="*/ 278 h 1556"/>
                <a:gd name="T40" fmla="*/ 281 w 1550"/>
                <a:gd name="T41" fmla="*/ 428 h 1556"/>
                <a:gd name="T42" fmla="*/ 198 w 1550"/>
                <a:gd name="T43" fmla="*/ 621 h 1556"/>
                <a:gd name="T44" fmla="*/ 182 w 1550"/>
                <a:gd name="T45" fmla="*/ 842 h 1556"/>
                <a:gd name="T46" fmla="*/ 238 w 1550"/>
                <a:gd name="T47" fmla="*/ 1050 h 1556"/>
                <a:gd name="T48" fmla="*/ 353 w 1550"/>
                <a:gd name="T49" fmla="*/ 1221 h 1556"/>
                <a:gd name="T50" fmla="*/ 516 w 1550"/>
                <a:gd name="T51" fmla="*/ 1343 h 1556"/>
                <a:gd name="T52" fmla="*/ 714 w 1550"/>
                <a:gd name="T53" fmla="*/ 1402 h 1556"/>
                <a:gd name="T54" fmla="*/ 926 w 1550"/>
                <a:gd name="T55" fmla="*/ 1385 h 1556"/>
                <a:gd name="T56" fmla="*/ 1110 w 1550"/>
                <a:gd name="T57" fmla="*/ 1298 h 1556"/>
                <a:gd name="T58" fmla="*/ 1255 w 1550"/>
                <a:gd name="T59" fmla="*/ 1154 h 1556"/>
                <a:gd name="T60" fmla="*/ 1348 w 1550"/>
                <a:gd name="T61" fmla="*/ 965 h 1556"/>
                <a:gd name="T62" fmla="*/ 1373 w 1550"/>
                <a:gd name="T63" fmla="*/ 745 h 1556"/>
                <a:gd name="T64" fmla="*/ 1327 w 1550"/>
                <a:gd name="T65" fmla="*/ 534 h 1556"/>
                <a:gd name="T66" fmla="*/ 1218 w 1550"/>
                <a:gd name="T67" fmla="*/ 358 h 1556"/>
                <a:gd name="T68" fmla="*/ 1061 w 1550"/>
                <a:gd name="T69" fmla="*/ 230 h 1556"/>
                <a:gd name="T70" fmla="*/ 867 w 1550"/>
                <a:gd name="T71" fmla="*/ 162 h 1556"/>
                <a:gd name="T72" fmla="*/ 659 w 1550"/>
                <a:gd name="T73" fmla="*/ 1546 h 1556"/>
                <a:gd name="T74" fmla="*/ 407 w 1550"/>
                <a:gd name="T75" fmla="*/ 1463 h 1556"/>
                <a:gd name="T76" fmla="*/ 203 w 1550"/>
                <a:gd name="T77" fmla="*/ 1303 h 1556"/>
                <a:gd name="T78" fmla="*/ 62 w 1550"/>
                <a:gd name="T79" fmla="*/ 1083 h 1556"/>
                <a:gd name="T80" fmla="*/ 1 w 1550"/>
                <a:gd name="T81" fmla="*/ 818 h 1556"/>
                <a:gd name="T82" fmla="*/ 35 w 1550"/>
                <a:gd name="T83" fmla="*/ 545 h 1556"/>
                <a:gd name="T84" fmla="*/ 156 w 1550"/>
                <a:gd name="T85" fmla="*/ 312 h 1556"/>
                <a:gd name="T86" fmla="*/ 343 w 1550"/>
                <a:gd name="T87" fmla="*/ 132 h 1556"/>
                <a:gd name="T88" fmla="*/ 583 w 1550"/>
                <a:gd name="T89" fmla="*/ 24 h 1556"/>
                <a:gd name="T90" fmla="*/ 855 w 1550"/>
                <a:gd name="T91" fmla="*/ 4 h 1556"/>
                <a:gd name="T92" fmla="*/ 1109 w 1550"/>
                <a:gd name="T93" fmla="*/ 77 h 1556"/>
                <a:gd name="T94" fmla="*/ 1322 w 1550"/>
                <a:gd name="T95" fmla="*/ 226 h 1556"/>
                <a:gd name="T96" fmla="*/ 1473 w 1550"/>
                <a:gd name="T97" fmla="*/ 440 h 1556"/>
                <a:gd name="T98" fmla="*/ 1546 w 1550"/>
                <a:gd name="T99" fmla="*/ 697 h 1556"/>
                <a:gd name="T100" fmla="*/ 1525 w 1550"/>
                <a:gd name="T101" fmla="*/ 974 h 1556"/>
                <a:gd name="T102" fmla="*/ 1417 w 1550"/>
                <a:gd name="T103" fmla="*/ 1215 h 1556"/>
                <a:gd name="T104" fmla="*/ 1237 w 1550"/>
                <a:gd name="T105" fmla="*/ 1403 h 1556"/>
                <a:gd name="T106" fmla="*/ 1005 w 1550"/>
                <a:gd name="T107" fmla="*/ 1521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6">
                  <a:moveTo>
                    <a:pt x="674" y="713"/>
                  </a:moveTo>
                  <a:lnTo>
                    <a:pt x="734" y="713"/>
                  </a:lnTo>
                  <a:lnTo>
                    <a:pt x="759" y="713"/>
                  </a:lnTo>
                  <a:lnTo>
                    <a:pt x="782" y="712"/>
                  </a:lnTo>
                  <a:lnTo>
                    <a:pt x="801" y="710"/>
                  </a:lnTo>
                  <a:lnTo>
                    <a:pt x="819" y="706"/>
                  </a:lnTo>
                  <a:lnTo>
                    <a:pt x="833" y="702"/>
                  </a:lnTo>
                  <a:lnTo>
                    <a:pt x="846" y="697"/>
                  </a:lnTo>
                  <a:lnTo>
                    <a:pt x="856" y="691"/>
                  </a:lnTo>
                  <a:lnTo>
                    <a:pt x="865" y="684"/>
                  </a:lnTo>
                  <a:lnTo>
                    <a:pt x="872" y="676"/>
                  </a:lnTo>
                  <a:lnTo>
                    <a:pt x="879" y="666"/>
                  </a:lnTo>
                  <a:lnTo>
                    <a:pt x="885" y="656"/>
                  </a:lnTo>
                  <a:lnTo>
                    <a:pt x="890" y="645"/>
                  </a:lnTo>
                  <a:lnTo>
                    <a:pt x="893" y="634"/>
                  </a:lnTo>
                  <a:lnTo>
                    <a:pt x="896" y="621"/>
                  </a:lnTo>
                  <a:lnTo>
                    <a:pt x="898" y="609"/>
                  </a:lnTo>
                  <a:lnTo>
                    <a:pt x="899" y="596"/>
                  </a:lnTo>
                  <a:lnTo>
                    <a:pt x="898" y="576"/>
                  </a:lnTo>
                  <a:lnTo>
                    <a:pt x="895" y="559"/>
                  </a:lnTo>
                  <a:lnTo>
                    <a:pt x="893" y="551"/>
                  </a:lnTo>
                  <a:lnTo>
                    <a:pt x="890" y="542"/>
                  </a:lnTo>
                  <a:lnTo>
                    <a:pt x="887" y="535"/>
                  </a:lnTo>
                  <a:lnTo>
                    <a:pt x="884" y="528"/>
                  </a:lnTo>
                  <a:lnTo>
                    <a:pt x="878" y="522"/>
                  </a:lnTo>
                  <a:lnTo>
                    <a:pt x="874" y="516"/>
                  </a:lnTo>
                  <a:lnTo>
                    <a:pt x="869" y="511"/>
                  </a:lnTo>
                  <a:lnTo>
                    <a:pt x="864" y="505"/>
                  </a:lnTo>
                  <a:lnTo>
                    <a:pt x="858" y="501"/>
                  </a:lnTo>
                  <a:lnTo>
                    <a:pt x="851" y="496"/>
                  </a:lnTo>
                  <a:lnTo>
                    <a:pt x="844" y="493"/>
                  </a:lnTo>
                  <a:lnTo>
                    <a:pt x="836" y="489"/>
                  </a:lnTo>
                  <a:lnTo>
                    <a:pt x="819" y="485"/>
                  </a:lnTo>
                  <a:lnTo>
                    <a:pt x="795" y="481"/>
                  </a:lnTo>
                  <a:lnTo>
                    <a:pt x="768" y="478"/>
                  </a:lnTo>
                  <a:lnTo>
                    <a:pt x="738" y="477"/>
                  </a:lnTo>
                  <a:lnTo>
                    <a:pt x="674" y="477"/>
                  </a:lnTo>
                  <a:lnTo>
                    <a:pt x="674" y="713"/>
                  </a:lnTo>
                  <a:close/>
                  <a:moveTo>
                    <a:pt x="827" y="336"/>
                  </a:moveTo>
                  <a:lnTo>
                    <a:pt x="841" y="337"/>
                  </a:lnTo>
                  <a:lnTo>
                    <a:pt x="856" y="338"/>
                  </a:lnTo>
                  <a:lnTo>
                    <a:pt x="869" y="339"/>
                  </a:lnTo>
                  <a:lnTo>
                    <a:pt x="883" y="341"/>
                  </a:lnTo>
                  <a:lnTo>
                    <a:pt x="896" y="344"/>
                  </a:lnTo>
                  <a:lnTo>
                    <a:pt x="909" y="347"/>
                  </a:lnTo>
                  <a:lnTo>
                    <a:pt x="921" y="352"/>
                  </a:lnTo>
                  <a:lnTo>
                    <a:pt x="933" y="355"/>
                  </a:lnTo>
                  <a:lnTo>
                    <a:pt x="944" y="360"/>
                  </a:lnTo>
                  <a:lnTo>
                    <a:pt x="955" y="365"/>
                  </a:lnTo>
                  <a:lnTo>
                    <a:pt x="967" y="371"/>
                  </a:lnTo>
                  <a:lnTo>
                    <a:pt x="977" y="377"/>
                  </a:lnTo>
                  <a:lnTo>
                    <a:pt x="987" y="384"/>
                  </a:lnTo>
                  <a:lnTo>
                    <a:pt x="997" y="392"/>
                  </a:lnTo>
                  <a:lnTo>
                    <a:pt x="1006" y="399"/>
                  </a:lnTo>
                  <a:lnTo>
                    <a:pt x="1015" y="407"/>
                  </a:lnTo>
                  <a:lnTo>
                    <a:pt x="1022" y="416"/>
                  </a:lnTo>
                  <a:lnTo>
                    <a:pt x="1030" y="424"/>
                  </a:lnTo>
                  <a:lnTo>
                    <a:pt x="1038" y="435"/>
                  </a:lnTo>
                  <a:lnTo>
                    <a:pt x="1045" y="444"/>
                  </a:lnTo>
                  <a:lnTo>
                    <a:pt x="1051" y="454"/>
                  </a:lnTo>
                  <a:lnTo>
                    <a:pt x="1056" y="465"/>
                  </a:lnTo>
                  <a:lnTo>
                    <a:pt x="1062" y="476"/>
                  </a:lnTo>
                  <a:lnTo>
                    <a:pt x="1066" y="487"/>
                  </a:lnTo>
                  <a:lnTo>
                    <a:pt x="1070" y="499"/>
                  </a:lnTo>
                  <a:lnTo>
                    <a:pt x="1075" y="512"/>
                  </a:lnTo>
                  <a:lnTo>
                    <a:pt x="1078" y="524"/>
                  </a:lnTo>
                  <a:lnTo>
                    <a:pt x="1081" y="537"/>
                  </a:lnTo>
                  <a:lnTo>
                    <a:pt x="1083" y="551"/>
                  </a:lnTo>
                  <a:lnTo>
                    <a:pt x="1084" y="564"/>
                  </a:lnTo>
                  <a:lnTo>
                    <a:pt x="1085" y="577"/>
                  </a:lnTo>
                  <a:lnTo>
                    <a:pt x="1085" y="592"/>
                  </a:lnTo>
                  <a:lnTo>
                    <a:pt x="1084" y="616"/>
                  </a:lnTo>
                  <a:lnTo>
                    <a:pt x="1082" y="640"/>
                  </a:lnTo>
                  <a:lnTo>
                    <a:pt x="1077" y="662"/>
                  </a:lnTo>
                  <a:lnTo>
                    <a:pt x="1069" y="684"/>
                  </a:lnTo>
                  <a:lnTo>
                    <a:pt x="1061" y="705"/>
                  </a:lnTo>
                  <a:lnTo>
                    <a:pt x="1052" y="725"/>
                  </a:lnTo>
                  <a:lnTo>
                    <a:pt x="1041" y="743"/>
                  </a:lnTo>
                  <a:lnTo>
                    <a:pt x="1028" y="761"/>
                  </a:lnTo>
                  <a:lnTo>
                    <a:pt x="1021" y="769"/>
                  </a:lnTo>
                  <a:lnTo>
                    <a:pt x="1014" y="776"/>
                  </a:lnTo>
                  <a:lnTo>
                    <a:pt x="1007" y="783"/>
                  </a:lnTo>
                  <a:lnTo>
                    <a:pt x="999" y="791"/>
                  </a:lnTo>
                  <a:lnTo>
                    <a:pt x="983" y="802"/>
                  </a:lnTo>
                  <a:lnTo>
                    <a:pt x="966" y="812"/>
                  </a:lnTo>
                  <a:lnTo>
                    <a:pt x="957" y="816"/>
                  </a:lnTo>
                  <a:lnTo>
                    <a:pt x="948" y="820"/>
                  </a:lnTo>
                  <a:lnTo>
                    <a:pt x="939" y="824"/>
                  </a:lnTo>
                  <a:lnTo>
                    <a:pt x="930" y="826"/>
                  </a:lnTo>
                  <a:lnTo>
                    <a:pt x="919" y="828"/>
                  </a:lnTo>
                  <a:lnTo>
                    <a:pt x="910" y="831"/>
                  </a:lnTo>
                  <a:lnTo>
                    <a:pt x="901" y="832"/>
                  </a:lnTo>
                  <a:lnTo>
                    <a:pt x="891" y="832"/>
                  </a:lnTo>
                  <a:lnTo>
                    <a:pt x="902" y="842"/>
                  </a:lnTo>
                  <a:lnTo>
                    <a:pt x="910" y="851"/>
                  </a:lnTo>
                  <a:lnTo>
                    <a:pt x="918" y="859"/>
                  </a:lnTo>
                  <a:lnTo>
                    <a:pt x="927" y="870"/>
                  </a:lnTo>
                  <a:lnTo>
                    <a:pt x="949" y="902"/>
                  </a:lnTo>
                  <a:lnTo>
                    <a:pt x="980" y="950"/>
                  </a:lnTo>
                  <a:lnTo>
                    <a:pt x="1014" y="1005"/>
                  </a:lnTo>
                  <a:lnTo>
                    <a:pt x="1049" y="1062"/>
                  </a:lnTo>
                  <a:lnTo>
                    <a:pt x="1082" y="1118"/>
                  </a:lnTo>
                  <a:lnTo>
                    <a:pt x="1109" y="1165"/>
                  </a:lnTo>
                  <a:lnTo>
                    <a:pt x="1128" y="1197"/>
                  </a:lnTo>
                  <a:lnTo>
                    <a:pt x="1135" y="1208"/>
                  </a:lnTo>
                  <a:lnTo>
                    <a:pt x="928" y="1208"/>
                  </a:lnTo>
                  <a:lnTo>
                    <a:pt x="906" y="1170"/>
                  </a:lnTo>
                  <a:lnTo>
                    <a:pt x="888" y="1138"/>
                  </a:lnTo>
                  <a:lnTo>
                    <a:pt x="869" y="1105"/>
                  </a:lnTo>
                  <a:lnTo>
                    <a:pt x="847" y="1064"/>
                  </a:lnTo>
                  <a:lnTo>
                    <a:pt x="817" y="1011"/>
                  </a:lnTo>
                  <a:lnTo>
                    <a:pt x="792" y="967"/>
                  </a:lnTo>
                  <a:lnTo>
                    <a:pt x="771" y="932"/>
                  </a:lnTo>
                  <a:lnTo>
                    <a:pt x="754" y="904"/>
                  </a:lnTo>
                  <a:lnTo>
                    <a:pt x="739" y="884"/>
                  </a:lnTo>
                  <a:lnTo>
                    <a:pt x="725" y="868"/>
                  </a:lnTo>
                  <a:lnTo>
                    <a:pt x="719" y="863"/>
                  </a:lnTo>
                  <a:lnTo>
                    <a:pt x="714" y="858"/>
                  </a:lnTo>
                  <a:lnTo>
                    <a:pt x="708" y="854"/>
                  </a:lnTo>
                  <a:lnTo>
                    <a:pt x="702" y="851"/>
                  </a:lnTo>
                  <a:lnTo>
                    <a:pt x="689" y="847"/>
                  </a:lnTo>
                  <a:lnTo>
                    <a:pt x="674" y="845"/>
                  </a:lnTo>
                  <a:lnTo>
                    <a:pt x="674" y="1208"/>
                  </a:lnTo>
                  <a:lnTo>
                    <a:pt x="504" y="1208"/>
                  </a:lnTo>
                  <a:lnTo>
                    <a:pt x="504" y="336"/>
                  </a:lnTo>
                  <a:lnTo>
                    <a:pt x="827" y="336"/>
                  </a:lnTo>
                  <a:close/>
                  <a:moveTo>
                    <a:pt x="776" y="155"/>
                  </a:moveTo>
                  <a:lnTo>
                    <a:pt x="745" y="156"/>
                  </a:lnTo>
                  <a:lnTo>
                    <a:pt x="714" y="158"/>
                  </a:lnTo>
                  <a:lnTo>
                    <a:pt x="684" y="162"/>
                  </a:lnTo>
                  <a:lnTo>
                    <a:pt x="655" y="168"/>
                  </a:lnTo>
                  <a:lnTo>
                    <a:pt x="626" y="174"/>
                  </a:lnTo>
                  <a:lnTo>
                    <a:pt x="597" y="182"/>
                  </a:lnTo>
                  <a:lnTo>
                    <a:pt x="569" y="193"/>
                  </a:lnTo>
                  <a:lnTo>
                    <a:pt x="543" y="204"/>
                  </a:lnTo>
                  <a:lnTo>
                    <a:pt x="516" y="216"/>
                  </a:lnTo>
                  <a:lnTo>
                    <a:pt x="490" y="230"/>
                  </a:lnTo>
                  <a:lnTo>
                    <a:pt x="466" y="245"/>
                  </a:lnTo>
                  <a:lnTo>
                    <a:pt x="441" y="260"/>
                  </a:lnTo>
                  <a:lnTo>
                    <a:pt x="417" y="278"/>
                  </a:lnTo>
                  <a:lnTo>
                    <a:pt x="395" y="296"/>
                  </a:lnTo>
                  <a:lnTo>
                    <a:pt x="373" y="316"/>
                  </a:lnTo>
                  <a:lnTo>
                    <a:pt x="353" y="336"/>
                  </a:lnTo>
                  <a:lnTo>
                    <a:pt x="333" y="358"/>
                  </a:lnTo>
                  <a:lnTo>
                    <a:pt x="315" y="380"/>
                  </a:lnTo>
                  <a:lnTo>
                    <a:pt x="297" y="404"/>
                  </a:lnTo>
                  <a:lnTo>
                    <a:pt x="281" y="428"/>
                  </a:lnTo>
                  <a:lnTo>
                    <a:pt x="264" y="454"/>
                  </a:lnTo>
                  <a:lnTo>
                    <a:pt x="251" y="480"/>
                  </a:lnTo>
                  <a:lnTo>
                    <a:pt x="238" y="506"/>
                  </a:lnTo>
                  <a:lnTo>
                    <a:pt x="225" y="534"/>
                  </a:lnTo>
                  <a:lnTo>
                    <a:pt x="215" y="563"/>
                  </a:lnTo>
                  <a:lnTo>
                    <a:pt x="206" y="592"/>
                  </a:lnTo>
                  <a:lnTo>
                    <a:pt x="198" y="621"/>
                  </a:lnTo>
                  <a:lnTo>
                    <a:pt x="191" y="651"/>
                  </a:lnTo>
                  <a:lnTo>
                    <a:pt x="185" y="682"/>
                  </a:lnTo>
                  <a:lnTo>
                    <a:pt x="182" y="714"/>
                  </a:lnTo>
                  <a:lnTo>
                    <a:pt x="179" y="745"/>
                  </a:lnTo>
                  <a:lnTo>
                    <a:pt x="179" y="777"/>
                  </a:lnTo>
                  <a:lnTo>
                    <a:pt x="179" y="810"/>
                  </a:lnTo>
                  <a:lnTo>
                    <a:pt x="182" y="842"/>
                  </a:lnTo>
                  <a:lnTo>
                    <a:pt x="185" y="874"/>
                  </a:lnTo>
                  <a:lnTo>
                    <a:pt x="191" y="904"/>
                  </a:lnTo>
                  <a:lnTo>
                    <a:pt x="198" y="935"/>
                  </a:lnTo>
                  <a:lnTo>
                    <a:pt x="206" y="965"/>
                  </a:lnTo>
                  <a:lnTo>
                    <a:pt x="215" y="994"/>
                  </a:lnTo>
                  <a:lnTo>
                    <a:pt x="225" y="1022"/>
                  </a:lnTo>
                  <a:lnTo>
                    <a:pt x="238" y="1050"/>
                  </a:lnTo>
                  <a:lnTo>
                    <a:pt x="251" y="1078"/>
                  </a:lnTo>
                  <a:lnTo>
                    <a:pt x="264" y="1103"/>
                  </a:lnTo>
                  <a:lnTo>
                    <a:pt x="281" y="1129"/>
                  </a:lnTo>
                  <a:lnTo>
                    <a:pt x="297" y="1154"/>
                  </a:lnTo>
                  <a:lnTo>
                    <a:pt x="315" y="1177"/>
                  </a:lnTo>
                  <a:lnTo>
                    <a:pt x="333" y="1200"/>
                  </a:lnTo>
                  <a:lnTo>
                    <a:pt x="353" y="1221"/>
                  </a:lnTo>
                  <a:lnTo>
                    <a:pt x="373" y="1242"/>
                  </a:lnTo>
                  <a:lnTo>
                    <a:pt x="395" y="1262"/>
                  </a:lnTo>
                  <a:lnTo>
                    <a:pt x="417" y="1281"/>
                  </a:lnTo>
                  <a:lnTo>
                    <a:pt x="441" y="1298"/>
                  </a:lnTo>
                  <a:lnTo>
                    <a:pt x="466" y="1315"/>
                  </a:lnTo>
                  <a:lnTo>
                    <a:pt x="490" y="1329"/>
                  </a:lnTo>
                  <a:lnTo>
                    <a:pt x="516" y="1343"/>
                  </a:lnTo>
                  <a:lnTo>
                    <a:pt x="543" y="1356"/>
                  </a:lnTo>
                  <a:lnTo>
                    <a:pt x="569" y="1367"/>
                  </a:lnTo>
                  <a:lnTo>
                    <a:pt x="597" y="1377"/>
                  </a:lnTo>
                  <a:lnTo>
                    <a:pt x="626" y="1385"/>
                  </a:lnTo>
                  <a:lnTo>
                    <a:pt x="655" y="1393"/>
                  </a:lnTo>
                  <a:lnTo>
                    <a:pt x="684" y="1398"/>
                  </a:lnTo>
                  <a:lnTo>
                    <a:pt x="714" y="1402"/>
                  </a:lnTo>
                  <a:lnTo>
                    <a:pt x="745" y="1404"/>
                  </a:lnTo>
                  <a:lnTo>
                    <a:pt x="776" y="1405"/>
                  </a:lnTo>
                  <a:lnTo>
                    <a:pt x="807" y="1404"/>
                  </a:lnTo>
                  <a:lnTo>
                    <a:pt x="837" y="1402"/>
                  </a:lnTo>
                  <a:lnTo>
                    <a:pt x="867" y="1398"/>
                  </a:lnTo>
                  <a:lnTo>
                    <a:pt x="897" y="1393"/>
                  </a:lnTo>
                  <a:lnTo>
                    <a:pt x="926" y="1385"/>
                  </a:lnTo>
                  <a:lnTo>
                    <a:pt x="953" y="1377"/>
                  </a:lnTo>
                  <a:lnTo>
                    <a:pt x="981" y="1367"/>
                  </a:lnTo>
                  <a:lnTo>
                    <a:pt x="1009" y="1356"/>
                  </a:lnTo>
                  <a:lnTo>
                    <a:pt x="1035" y="1343"/>
                  </a:lnTo>
                  <a:lnTo>
                    <a:pt x="1061" y="1329"/>
                  </a:lnTo>
                  <a:lnTo>
                    <a:pt x="1086" y="1315"/>
                  </a:lnTo>
                  <a:lnTo>
                    <a:pt x="1110" y="1298"/>
                  </a:lnTo>
                  <a:lnTo>
                    <a:pt x="1134" y="1281"/>
                  </a:lnTo>
                  <a:lnTo>
                    <a:pt x="1157" y="1262"/>
                  </a:lnTo>
                  <a:lnTo>
                    <a:pt x="1178" y="1242"/>
                  </a:lnTo>
                  <a:lnTo>
                    <a:pt x="1199" y="1221"/>
                  </a:lnTo>
                  <a:lnTo>
                    <a:pt x="1218" y="1200"/>
                  </a:lnTo>
                  <a:lnTo>
                    <a:pt x="1238" y="1177"/>
                  </a:lnTo>
                  <a:lnTo>
                    <a:pt x="1255" y="1154"/>
                  </a:lnTo>
                  <a:lnTo>
                    <a:pt x="1272" y="1129"/>
                  </a:lnTo>
                  <a:lnTo>
                    <a:pt x="1287" y="1103"/>
                  </a:lnTo>
                  <a:lnTo>
                    <a:pt x="1301" y="1078"/>
                  </a:lnTo>
                  <a:lnTo>
                    <a:pt x="1315" y="1050"/>
                  </a:lnTo>
                  <a:lnTo>
                    <a:pt x="1327" y="1022"/>
                  </a:lnTo>
                  <a:lnTo>
                    <a:pt x="1338" y="994"/>
                  </a:lnTo>
                  <a:lnTo>
                    <a:pt x="1348" y="965"/>
                  </a:lnTo>
                  <a:lnTo>
                    <a:pt x="1356" y="935"/>
                  </a:lnTo>
                  <a:lnTo>
                    <a:pt x="1362" y="904"/>
                  </a:lnTo>
                  <a:lnTo>
                    <a:pt x="1367" y="874"/>
                  </a:lnTo>
                  <a:lnTo>
                    <a:pt x="1371" y="842"/>
                  </a:lnTo>
                  <a:lnTo>
                    <a:pt x="1373" y="810"/>
                  </a:lnTo>
                  <a:lnTo>
                    <a:pt x="1374" y="777"/>
                  </a:lnTo>
                  <a:lnTo>
                    <a:pt x="1373" y="745"/>
                  </a:lnTo>
                  <a:lnTo>
                    <a:pt x="1371" y="714"/>
                  </a:lnTo>
                  <a:lnTo>
                    <a:pt x="1367" y="682"/>
                  </a:lnTo>
                  <a:lnTo>
                    <a:pt x="1362" y="651"/>
                  </a:lnTo>
                  <a:lnTo>
                    <a:pt x="1356" y="621"/>
                  </a:lnTo>
                  <a:lnTo>
                    <a:pt x="1348" y="592"/>
                  </a:lnTo>
                  <a:lnTo>
                    <a:pt x="1338" y="563"/>
                  </a:lnTo>
                  <a:lnTo>
                    <a:pt x="1327" y="534"/>
                  </a:lnTo>
                  <a:lnTo>
                    <a:pt x="1315" y="506"/>
                  </a:lnTo>
                  <a:lnTo>
                    <a:pt x="1301" y="480"/>
                  </a:lnTo>
                  <a:lnTo>
                    <a:pt x="1287" y="454"/>
                  </a:lnTo>
                  <a:lnTo>
                    <a:pt x="1272" y="428"/>
                  </a:lnTo>
                  <a:lnTo>
                    <a:pt x="1255" y="404"/>
                  </a:lnTo>
                  <a:lnTo>
                    <a:pt x="1238" y="380"/>
                  </a:lnTo>
                  <a:lnTo>
                    <a:pt x="1218" y="358"/>
                  </a:lnTo>
                  <a:lnTo>
                    <a:pt x="1199" y="336"/>
                  </a:lnTo>
                  <a:lnTo>
                    <a:pt x="1178" y="316"/>
                  </a:lnTo>
                  <a:lnTo>
                    <a:pt x="1157" y="296"/>
                  </a:lnTo>
                  <a:lnTo>
                    <a:pt x="1134" y="278"/>
                  </a:lnTo>
                  <a:lnTo>
                    <a:pt x="1110" y="260"/>
                  </a:lnTo>
                  <a:lnTo>
                    <a:pt x="1086" y="245"/>
                  </a:lnTo>
                  <a:lnTo>
                    <a:pt x="1061" y="230"/>
                  </a:lnTo>
                  <a:lnTo>
                    <a:pt x="1035" y="216"/>
                  </a:lnTo>
                  <a:lnTo>
                    <a:pt x="1009" y="204"/>
                  </a:lnTo>
                  <a:lnTo>
                    <a:pt x="981" y="193"/>
                  </a:lnTo>
                  <a:lnTo>
                    <a:pt x="953" y="182"/>
                  </a:lnTo>
                  <a:lnTo>
                    <a:pt x="926" y="174"/>
                  </a:lnTo>
                  <a:lnTo>
                    <a:pt x="897" y="168"/>
                  </a:lnTo>
                  <a:lnTo>
                    <a:pt x="867" y="162"/>
                  </a:lnTo>
                  <a:lnTo>
                    <a:pt x="837" y="158"/>
                  </a:lnTo>
                  <a:lnTo>
                    <a:pt x="807" y="156"/>
                  </a:lnTo>
                  <a:lnTo>
                    <a:pt x="776" y="155"/>
                  </a:lnTo>
                  <a:close/>
                  <a:moveTo>
                    <a:pt x="776" y="1556"/>
                  </a:moveTo>
                  <a:lnTo>
                    <a:pt x="736" y="1555"/>
                  </a:lnTo>
                  <a:lnTo>
                    <a:pt x="697" y="1552"/>
                  </a:lnTo>
                  <a:lnTo>
                    <a:pt x="659" y="1546"/>
                  </a:lnTo>
                  <a:lnTo>
                    <a:pt x="621" y="1540"/>
                  </a:lnTo>
                  <a:lnTo>
                    <a:pt x="583" y="1531"/>
                  </a:lnTo>
                  <a:lnTo>
                    <a:pt x="546" y="1521"/>
                  </a:lnTo>
                  <a:lnTo>
                    <a:pt x="510" y="1508"/>
                  </a:lnTo>
                  <a:lnTo>
                    <a:pt x="475" y="1495"/>
                  </a:lnTo>
                  <a:lnTo>
                    <a:pt x="441" y="1480"/>
                  </a:lnTo>
                  <a:lnTo>
                    <a:pt x="407" y="1463"/>
                  </a:lnTo>
                  <a:lnTo>
                    <a:pt x="375" y="1444"/>
                  </a:lnTo>
                  <a:lnTo>
                    <a:pt x="343" y="1424"/>
                  </a:lnTo>
                  <a:lnTo>
                    <a:pt x="313" y="1403"/>
                  </a:lnTo>
                  <a:lnTo>
                    <a:pt x="284" y="1379"/>
                  </a:lnTo>
                  <a:lnTo>
                    <a:pt x="255" y="1356"/>
                  </a:lnTo>
                  <a:lnTo>
                    <a:pt x="228" y="1330"/>
                  </a:lnTo>
                  <a:lnTo>
                    <a:pt x="203" y="1303"/>
                  </a:lnTo>
                  <a:lnTo>
                    <a:pt x="178" y="1275"/>
                  </a:lnTo>
                  <a:lnTo>
                    <a:pt x="156" y="1246"/>
                  </a:lnTo>
                  <a:lnTo>
                    <a:pt x="134" y="1215"/>
                  </a:lnTo>
                  <a:lnTo>
                    <a:pt x="113" y="1183"/>
                  </a:lnTo>
                  <a:lnTo>
                    <a:pt x="95" y="1151"/>
                  </a:lnTo>
                  <a:lnTo>
                    <a:pt x="77" y="1118"/>
                  </a:lnTo>
                  <a:lnTo>
                    <a:pt x="62" y="1083"/>
                  </a:lnTo>
                  <a:lnTo>
                    <a:pt x="48" y="1047"/>
                  </a:lnTo>
                  <a:lnTo>
                    <a:pt x="35" y="1011"/>
                  </a:lnTo>
                  <a:lnTo>
                    <a:pt x="25" y="974"/>
                  </a:lnTo>
                  <a:lnTo>
                    <a:pt x="17" y="936"/>
                  </a:lnTo>
                  <a:lnTo>
                    <a:pt x="10" y="897"/>
                  </a:lnTo>
                  <a:lnTo>
                    <a:pt x="5" y="858"/>
                  </a:lnTo>
                  <a:lnTo>
                    <a:pt x="1" y="818"/>
                  </a:lnTo>
                  <a:lnTo>
                    <a:pt x="0" y="777"/>
                  </a:lnTo>
                  <a:lnTo>
                    <a:pt x="1" y="737"/>
                  </a:lnTo>
                  <a:lnTo>
                    <a:pt x="5" y="697"/>
                  </a:lnTo>
                  <a:lnTo>
                    <a:pt x="10" y="658"/>
                  </a:lnTo>
                  <a:lnTo>
                    <a:pt x="17" y="620"/>
                  </a:lnTo>
                  <a:lnTo>
                    <a:pt x="25" y="582"/>
                  </a:lnTo>
                  <a:lnTo>
                    <a:pt x="35" y="545"/>
                  </a:lnTo>
                  <a:lnTo>
                    <a:pt x="48" y="510"/>
                  </a:lnTo>
                  <a:lnTo>
                    <a:pt x="62" y="474"/>
                  </a:lnTo>
                  <a:lnTo>
                    <a:pt x="77" y="440"/>
                  </a:lnTo>
                  <a:lnTo>
                    <a:pt x="95" y="406"/>
                  </a:lnTo>
                  <a:lnTo>
                    <a:pt x="113" y="373"/>
                  </a:lnTo>
                  <a:lnTo>
                    <a:pt x="134" y="341"/>
                  </a:lnTo>
                  <a:lnTo>
                    <a:pt x="156" y="312"/>
                  </a:lnTo>
                  <a:lnTo>
                    <a:pt x="178" y="282"/>
                  </a:lnTo>
                  <a:lnTo>
                    <a:pt x="203" y="254"/>
                  </a:lnTo>
                  <a:lnTo>
                    <a:pt x="228" y="226"/>
                  </a:lnTo>
                  <a:lnTo>
                    <a:pt x="255" y="201"/>
                  </a:lnTo>
                  <a:lnTo>
                    <a:pt x="284" y="176"/>
                  </a:lnTo>
                  <a:lnTo>
                    <a:pt x="313" y="154"/>
                  </a:lnTo>
                  <a:lnTo>
                    <a:pt x="343" y="132"/>
                  </a:lnTo>
                  <a:lnTo>
                    <a:pt x="375" y="112"/>
                  </a:lnTo>
                  <a:lnTo>
                    <a:pt x="407" y="93"/>
                  </a:lnTo>
                  <a:lnTo>
                    <a:pt x="441" y="77"/>
                  </a:lnTo>
                  <a:lnTo>
                    <a:pt x="475" y="60"/>
                  </a:lnTo>
                  <a:lnTo>
                    <a:pt x="510" y="47"/>
                  </a:lnTo>
                  <a:lnTo>
                    <a:pt x="546" y="35"/>
                  </a:lnTo>
                  <a:lnTo>
                    <a:pt x="583" y="24"/>
                  </a:lnTo>
                  <a:lnTo>
                    <a:pt x="621" y="16"/>
                  </a:lnTo>
                  <a:lnTo>
                    <a:pt x="659" y="9"/>
                  </a:lnTo>
                  <a:lnTo>
                    <a:pt x="697" y="4"/>
                  </a:lnTo>
                  <a:lnTo>
                    <a:pt x="736" y="1"/>
                  </a:lnTo>
                  <a:lnTo>
                    <a:pt x="776" y="0"/>
                  </a:lnTo>
                  <a:lnTo>
                    <a:pt x="816" y="1"/>
                  </a:lnTo>
                  <a:lnTo>
                    <a:pt x="855" y="4"/>
                  </a:lnTo>
                  <a:lnTo>
                    <a:pt x="893" y="9"/>
                  </a:lnTo>
                  <a:lnTo>
                    <a:pt x="931" y="16"/>
                  </a:lnTo>
                  <a:lnTo>
                    <a:pt x="968" y="24"/>
                  </a:lnTo>
                  <a:lnTo>
                    <a:pt x="1005" y="35"/>
                  </a:lnTo>
                  <a:lnTo>
                    <a:pt x="1041" y="47"/>
                  </a:lnTo>
                  <a:lnTo>
                    <a:pt x="1076" y="60"/>
                  </a:lnTo>
                  <a:lnTo>
                    <a:pt x="1109" y="77"/>
                  </a:lnTo>
                  <a:lnTo>
                    <a:pt x="1143" y="93"/>
                  </a:lnTo>
                  <a:lnTo>
                    <a:pt x="1175" y="112"/>
                  </a:lnTo>
                  <a:lnTo>
                    <a:pt x="1207" y="132"/>
                  </a:lnTo>
                  <a:lnTo>
                    <a:pt x="1237" y="154"/>
                  </a:lnTo>
                  <a:lnTo>
                    <a:pt x="1267" y="176"/>
                  </a:lnTo>
                  <a:lnTo>
                    <a:pt x="1294" y="201"/>
                  </a:lnTo>
                  <a:lnTo>
                    <a:pt x="1322" y="226"/>
                  </a:lnTo>
                  <a:lnTo>
                    <a:pt x="1348" y="254"/>
                  </a:lnTo>
                  <a:lnTo>
                    <a:pt x="1372" y="282"/>
                  </a:lnTo>
                  <a:lnTo>
                    <a:pt x="1395" y="312"/>
                  </a:lnTo>
                  <a:lnTo>
                    <a:pt x="1417" y="341"/>
                  </a:lnTo>
                  <a:lnTo>
                    <a:pt x="1437" y="373"/>
                  </a:lnTo>
                  <a:lnTo>
                    <a:pt x="1456" y="406"/>
                  </a:lnTo>
                  <a:lnTo>
                    <a:pt x="1473" y="440"/>
                  </a:lnTo>
                  <a:lnTo>
                    <a:pt x="1488" y="474"/>
                  </a:lnTo>
                  <a:lnTo>
                    <a:pt x="1503" y="510"/>
                  </a:lnTo>
                  <a:lnTo>
                    <a:pt x="1515" y="545"/>
                  </a:lnTo>
                  <a:lnTo>
                    <a:pt x="1525" y="582"/>
                  </a:lnTo>
                  <a:lnTo>
                    <a:pt x="1534" y="620"/>
                  </a:lnTo>
                  <a:lnTo>
                    <a:pt x="1541" y="658"/>
                  </a:lnTo>
                  <a:lnTo>
                    <a:pt x="1546" y="697"/>
                  </a:lnTo>
                  <a:lnTo>
                    <a:pt x="1549" y="737"/>
                  </a:lnTo>
                  <a:lnTo>
                    <a:pt x="1550" y="777"/>
                  </a:lnTo>
                  <a:lnTo>
                    <a:pt x="1549" y="818"/>
                  </a:lnTo>
                  <a:lnTo>
                    <a:pt x="1546" y="858"/>
                  </a:lnTo>
                  <a:lnTo>
                    <a:pt x="1541" y="897"/>
                  </a:lnTo>
                  <a:lnTo>
                    <a:pt x="1534" y="936"/>
                  </a:lnTo>
                  <a:lnTo>
                    <a:pt x="1525" y="974"/>
                  </a:lnTo>
                  <a:lnTo>
                    <a:pt x="1515" y="1011"/>
                  </a:lnTo>
                  <a:lnTo>
                    <a:pt x="1503" y="1047"/>
                  </a:lnTo>
                  <a:lnTo>
                    <a:pt x="1488" y="1083"/>
                  </a:lnTo>
                  <a:lnTo>
                    <a:pt x="1473" y="1118"/>
                  </a:lnTo>
                  <a:lnTo>
                    <a:pt x="1456" y="1151"/>
                  </a:lnTo>
                  <a:lnTo>
                    <a:pt x="1437" y="1183"/>
                  </a:lnTo>
                  <a:lnTo>
                    <a:pt x="1417" y="1215"/>
                  </a:lnTo>
                  <a:lnTo>
                    <a:pt x="1395" y="1246"/>
                  </a:lnTo>
                  <a:lnTo>
                    <a:pt x="1372" y="1275"/>
                  </a:lnTo>
                  <a:lnTo>
                    <a:pt x="1348" y="1303"/>
                  </a:lnTo>
                  <a:lnTo>
                    <a:pt x="1322" y="1330"/>
                  </a:lnTo>
                  <a:lnTo>
                    <a:pt x="1294" y="1356"/>
                  </a:lnTo>
                  <a:lnTo>
                    <a:pt x="1267" y="1379"/>
                  </a:lnTo>
                  <a:lnTo>
                    <a:pt x="1237" y="1403"/>
                  </a:lnTo>
                  <a:lnTo>
                    <a:pt x="1207" y="1424"/>
                  </a:lnTo>
                  <a:lnTo>
                    <a:pt x="1175" y="1444"/>
                  </a:lnTo>
                  <a:lnTo>
                    <a:pt x="1143" y="1463"/>
                  </a:lnTo>
                  <a:lnTo>
                    <a:pt x="1109" y="1480"/>
                  </a:lnTo>
                  <a:lnTo>
                    <a:pt x="1076" y="1495"/>
                  </a:lnTo>
                  <a:lnTo>
                    <a:pt x="1041" y="1508"/>
                  </a:lnTo>
                  <a:lnTo>
                    <a:pt x="1005" y="1521"/>
                  </a:lnTo>
                  <a:lnTo>
                    <a:pt x="968" y="1531"/>
                  </a:lnTo>
                  <a:lnTo>
                    <a:pt x="931" y="1540"/>
                  </a:lnTo>
                  <a:lnTo>
                    <a:pt x="893" y="1546"/>
                  </a:lnTo>
                  <a:lnTo>
                    <a:pt x="855" y="1552"/>
                  </a:lnTo>
                  <a:lnTo>
                    <a:pt x="816" y="1555"/>
                  </a:lnTo>
                  <a:lnTo>
                    <a:pt x="776" y="1556"/>
                  </a:lnTo>
                  <a:close/>
                </a:path>
              </a:pathLst>
            </a:custGeom>
            <a:solidFill>
              <a:srgbClr val="006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36290" fontAlgn="base">
                <a:spcBef>
                  <a:spcPct val="0"/>
                </a:spcBef>
                <a:spcAft>
                  <a:spcPct val="0"/>
                </a:spcAft>
              </a:pP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6731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heading"/>
          <p:cNvSpPr>
            <a:spLocks noGrp="1"/>
          </p:cNvSpPr>
          <p:nvPr>
            <p:ph type="title"/>
          </p:nvPr>
        </p:nvSpPr>
        <p:spPr/>
        <p:txBody>
          <a:bodyPr anchor="b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347397" indent="-146273">
              <a:buFont typeface="Symbol" panose="05050102010706020507" pitchFamily="18" charset="2"/>
              <a:buChar char="-"/>
              <a:defRPr/>
            </a:lvl2pPr>
            <a:lvl3pPr marL="530238" indent="-146273">
              <a:buFont typeface="Symbol" panose="05050102010706020507" pitchFamily="18" charset="2"/>
              <a:buChar char="-"/>
              <a:defRPr/>
            </a:lvl3pPr>
            <a:lvl4pPr marL="713079" indent="-146273">
              <a:buSzPct val="100000"/>
              <a:buFont typeface="Symbol" panose="05050102010706020507" pitchFamily="18" charset="2"/>
              <a:buChar char="-"/>
              <a:defRPr/>
            </a:lvl4pPr>
            <a:lvl5pPr marL="895920" indent="-146273">
              <a:buSzPct val="100000"/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4692359" y="4228236"/>
            <a:ext cx="6297180" cy="165067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763935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heading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0759" y="1353037"/>
            <a:ext cx="6257931" cy="1001749"/>
          </a:xfrm>
        </p:spPr>
        <p:txBody>
          <a:bodyPr>
            <a:spAutoFit/>
          </a:bodyPr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08019" y="1353037"/>
            <a:ext cx="6260113" cy="1001749"/>
          </a:xfrm>
        </p:spPr>
        <p:txBody>
          <a:bodyPr>
            <a:spAutoFit/>
          </a:bodyPr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434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heading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750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2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1" y="1248696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3" y="457483"/>
            <a:ext cx="12586577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6080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3546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47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2911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2144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8568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8302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8960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496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122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793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38878" cy="207264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xmlns="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:a16="http://schemas.microsoft.com/office/drawing/2014/main" xmlns="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2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3" y="448056"/>
            <a:ext cx="12586577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1035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5158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2441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3034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0609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0898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9484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0627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201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17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945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nsert&gt;Header &amp; Footer&gt;Edit Footer field and click on Apply to All</a:t>
            </a:r>
            <a:endParaRPr lang="en-CA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xmlns="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08671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6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1640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7972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2642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540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6982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847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765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6616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1874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6129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3019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1" y="6679518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8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9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xmlns="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3" y="3978114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xmlns="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3" y="448056"/>
            <a:ext cx="12586577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3411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484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429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5908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853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620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747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5928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3802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2562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2789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7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3" y="448056"/>
            <a:ext cx="12586577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708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7679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619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3035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0650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4934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8245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2006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4164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0150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46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xmlns="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xmlns="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xmlns="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xmlns="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349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3136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6658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8071" y="6736080"/>
            <a:ext cx="1259758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628072" y="1248697"/>
            <a:ext cx="12597581" cy="5512835"/>
          </a:xfrm>
          <a:noFill/>
        </p:spPr>
        <p:txBody>
          <a:bodyPr/>
          <a:lstStyle>
            <a:lvl1pPr>
              <a:defRPr/>
            </a:lvl1pPr>
          </a:lstStyle>
          <a:p>
            <a:endParaRPr lang="en-CA" dirty="0" smtClean="0"/>
          </a:p>
          <a:p>
            <a:endParaRPr lang="en-CA" dirty="0" smtClean="0"/>
          </a:p>
          <a:p>
            <a:endParaRPr lang="en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11" y="457484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1095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1" y="7337146"/>
            <a:ext cx="12038878" cy="207264"/>
          </a:xfrm>
        </p:spPr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070" y="6736080"/>
            <a:ext cx="12594009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1" name="Table Placeholder 8">
            <a:extLst>
              <a:ext uri="{FF2B5EF4-FFF2-40B4-BE49-F238E27FC236}">
                <a16:creationId xmlns="" xmlns:a16="http://schemas.microsoft.com/office/drawing/2014/main" id="{52A5D4D8-14B3-42DE-B067-08293BA84A87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506617" y="1036948"/>
            <a:ext cx="5715462" cy="4747026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1" y="1036948"/>
            <a:ext cx="5790939" cy="4747026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0168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3168"/>
                </a:solidFill>
              </a:rPr>
              <a:t>Insert&gt;Header &amp; Footer&gt;Edit Footer field and click on Apply to All</a:t>
            </a:r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081" y="6736080"/>
            <a:ext cx="12586573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="" xmlns:a16="http://schemas.microsoft.com/office/drawing/2014/main" id="{CA3FAD70-F125-4DE1-B0C6-83E25C5AB174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1" y="1008668"/>
            <a:ext cx="12597582" cy="5720503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2" y="448057"/>
            <a:ext cx="12586575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4406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hart, Text &amp;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="" xmlns:a16="http://schemas.microsoft.com/office/drawing/2014/main" id="{A9AE3F76-B9DE-4752-800E-856A591AF6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072" y="6679519"/>
            <a:ext cx="11527772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6466636C-DEBA-4F72-B72B-606CB99336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7050" y="5514739"/>
            <a:ext cx="4157946" cy="986182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64592" tIns="45720" rIns="164592" bIns="4572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9720" y="1036947"/>
            <a:ext cx="9365935" cy="4286507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="" xmlns:a16="http://schemas.microsoft.com/office/drawing/2014/main" id="{6E359CBC-9F10-43AF-9902-FE6CC2CB3F7C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15512" y="3978111"/>
            <a:ext cx="2991966" cy="2529717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10" name="Chart Placeholder 9">
            <a:extLst>
              <a:ext uri="{FF2B5EF4-FFF2-40B4-BE49-F238E27FC236}">
                <a16:creationId xmlns="" xmlns:a16="http://schemas.microsoft.com/office/drawing/2014/main" id="{9C392A06-BE81-45B1-B89B-613D44B3CF5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072" y="1036947"/>
            <a:ext cx="2979474" cy="274988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49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31D2E5A-599D-414F-ABC5-10659C2DC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BFD1E2E-16A0-412E-B833-562FBB9481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F9682F1-B52C-4596-BB4E-19A760F0D1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880" y="6736080"/>
            <a:ext cx="12586578" cy="4572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089F7DF-4377-47A2-B733-FBEECC7C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4162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82978E88-56D6-48B4-896E-06B96E32E20B}"/>
              </a:ext>
            </a:extLst>
          </p:cNvPr>
          <p:cNvGrpSpPr/>
          <p:nvPr userDrawn="1"/>
        </p:nvGrpSpPr>
        <p:grpSpPr>
          <a:xfrm>
            <a:off x="-31090" y="-10363"/>
            <a:ext cx="13845237" cy="7793126"/>
            <a:chOff x="-9145" y="-9526"/>
            <a:chExt cx="9162289" cy="6876288"/>
          </a:xfrm>
        </p:grpSpPr>
        <p:sp>
          <p:nvSpPr>
            <p:cNvPr id="18" name="Freeform 6">
              <a:extLst>
                <a:ext uri="{FF2B5EF4-FFF2-40B4-BE49-F238E27FC236}">
                  <a16:creationId xmlns="" xmlns:a16="http://schemas.microsoft.com/office/drawing/2014/main" id="{B73422A1-09E3-4108-8F21-4A039FD65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144" y="-9526"/>
              <a:ext cx="9162288" cy="6876288"/>
            </a:xfrm>
            <a:custGeom>
              <a:avLst/>
              <a:gdLst>
                <a:gd name="T0" fmla="*/ 11765 w 12024"/>
                <a:gd name="T1" fmla="*/ 0 h 9024"/>
                <a:gd name="T2" fmla="*/ 11765 w 12024"/>
                <a:gd name="T3" fmla="*/ 4680 h 9024"/>
                <a:gd name="T4" fmla="*/ 10867 w 12024"/>
                <a:gd name="T5" fmla="*/ 6080 h 9024"/>
                <a:gd name="T6" fmla="*/ 3229 w 12024"/>
                <a:gd name="T7" fmla="*/ 7429 h 9024"/>
                <a:gd name="T8" fmla="*/ 0 w 12024"/>
                <a:gd name="T9" fmla="*/ 7199 h 9024"/>
                <a:gd name="T10" fmla="*/ 0 w 12024"/>
                <a:gd name="T11" fmla="*/ 9024 h 9024"/>
                <a:gd name="T12" fmla="*/ 12024 w 12024"/>
                <a:gd name="T13" fmla="*/ 9024 h 9024"/>
                <a:gd name="T14" fmla="*/ 12024 w 12024"/>
                <a:gd name="T15" fmla="*/ 0 h 9024"/>
                <a:gd name="T16" fmla="*/ 11765 w 12024"/>
                <a:gd name="T17" fmla="*/ 0 h 9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24" h="9024">
                  <a:moveTo>
                    <a:pt x="11765" y="0"/>
                  </a:moveTo>
                  <a:lnTo>
                    <a:pt x="11765" y="4680"/>
                  </a:lnTo>
                  <a:cubicBezTo>
                    <a:pt x="11765" y="5422"/>
                    <a:pt x="11460" y="5852"/>
                    <a:pt x="10867" y="6080"/>
                  </a:cubicBezTo>
                  <a:cubicBezTo>
                    <a:pt x="8560" y="6970"/>
                    <a:pt x="5828" y="7429"/>
                    <a:pt x="3229" y="7429"/>
                  </a:cubicBezTo>
                  <a:cubicBezTo>
                    <a:pt x="2162" y="7429"/>
                    <a:pt x="1073" y="7351"/>
                    <a:pt x="0" y="7199"/>
                  </a:cubicBezTo>
                  <a:lnTo>
                    <a:pt x="0" y="9024"/>
                  </a:lnTo>
                  <a:lnTo>
                    <a:pt x="12024" y="9024"/>
                  </a:lnTo>
                  <a:lnTo>
                    <a:pt x="12024" y="0"/>
                  </a:lnTo>
                  <a:lnTo>
                    <a:pt x="11765" y="0"/>
                  </a:lnTo>
                  <a:close/>
                </a:path>
              </a:pathLst>
            </a:custGeom>
            <a:solidFill>
              <a:srgbClr val="E7E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CA" sz="198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="" xmlns:a16="http://schemas.microsoft.com/office/drawing/2014/main" id="{75B0F848-AEAC-4A26-A85F-14B665131E09}"/>
                </a:ext>
              </a:extLst>
            </p:cNvPr>
            <p:cNvGrpSpPr/>
            <p:nvPr userDrawn="1"/>
          </p:nvGrpSpPr>
          <p:grpSpPr>
            <a:xfrm>
              <a:off x="-9145" y="-9525"/>
              <a:ext cx="9162289" cy="5943600"/>
              <a:chOff x="-9145" y="-9525"/>
              <a:chExt cx="9162289" cy="5943600"/>
            </a:xfrm>
          </p:grpSpPr>
          <p:sp>
            <p:nvSpPr>
              <p:cNvPr id="17" name="Freeform 5">
                <a:extLst>
                  <a:ext uri="{FF2B5EF4-FFF2-40B4-BE49-F238E27FC236}">
                    <a16:creationId xmlns="" xmlns:a16="http://schemas.microsoft.com/office/drawing/2014/main" id="{17916B33-FAC5-4DE9-A5F4-84230FFFA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750808" cy="5118100"/>
              </a:xfrm>
              <a:custGeom>
                <a:avLst/>
                <a:gdLst>
                  <a:gd name="T0" fmla="*/ 11421 w 11481"/>
                  <a:gd name="T1" fmla="*/ 0 h 6751"/>
                  <a:gd name="T2" fmla="*/ 11421 w 11481"/>
                  <a:gd name="T3" fmla="*/ 3972 h 6751"/>
                  <a:gd name="T4" fmla="*/ 10542 w 11481"/>
                  <a:gd name="T5" fmla="*/ 5345 h 6751"/>
                  <a:gd name="T6" fmla="*/ 2916 w 11481"/>
                  <a:gd name="T7" fmla="*/ 6691 h 6751"/>
                  <a:gd name="T8" fmla="*/ 0 w 11481"/>
                  <a:gd name="T9" fmla="*/ 6503 h 6751"/>
                  <a:gd name="T10" fmla="*/ 0 w 11481"/>
                  <a:gd name="T11" fmla="*/ 6563 h 6751"/>
                  <a:gd name="T12" fmla="*/ 2916 w 11481"/>
                  <a:gd name="T13" fmla="*/ 6751 h 6751"/>
                  <a:gd name="T14" fmla="*/ 10564 w 11481"/>
                  <a:gd name="T15" fmla="*/ 5401 h 6751"/>
                  <a:gd name="T16" fmla="*/ 11481 w 11481"/>
                  <a:gd name="T17" fmla="*/ 3972 h 6751"/>
                  <a:gd name="T18" fmla="*/ 11481 w 11481"/>
                  <a:gd name="T19" fmla="*/ 0 h 6751"/>
                  <a:gd name="T20" fmla="*/ 11421 w 11481"/>
                  <a:gd name="T21" fmla="*/ 0 h 6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81" h="6751">
                    <a:moveTo>
                      <a:pt x="11421" y="0"/>
                    </a:moveTo>
                    <a:lnTo>
                      <a:pt x="11421" y="3972"/>
                    </a:lnTo>
                    <a:cubicBezTo>
                      <a:pt x="11421" y="4678"/>
                      <a:pt x="11142" y="5114"/>
                      <a:pt x="10542" y="5345"/>
                    </a:cubicBezTo>
                    <a:cubicBezTo>
                      <a:pt x="8291" y="6213"/>
                      <a:pt x="5583" y="6691"/>
                      <a:pt x="2916" y="6691"/>
                    </a:cubicBezTo>
                    <a:cubicBezTo>
                      <a:pt x="1946" y="6691"/>
                      <a:pt x="969" y="6627"/>
                      <a:pt x="0" y="6503"/>
                    </a:cubicBezTo>
                    <a:lnTo>
                      <a:pt x="0" y="6563"/>
                    </a:lnTo>
                    <a:cubicBezTo>
                      <a:pt x="969" y="6688"/>
                      <a:pt x="1946" y="6751"/>
                      <a:pt x="2916" y="6751"/>
                    </a:cubicBezTo>
                    <a:cubicBezTo>
                      <a:pt x="5590" y="6751"/>
                      <a:pt x="8306" y="6271"/>
                      <a:pt x="10564" y="5401"/>
                    </a:cubicBezTo>
                    <a:cubicBezTo>
                      <a:pt x="11190" y="5160"/>
                      <a:pt x="11481" y="4706"/>
                      <a:pt x="11481" y="3972"/>
                    </a:cubicBezTo>
                    <a:lnTo>
                      <a:pt x="11481" y="0"/>
                    </a:lnTo>
                    <a:lnTo>
                      <a:pt x="11421" y="0"/>
                    </a:lnTo>
                    <a:close/>
                  </a:path>
                </a:pathLst>
              </a:custGeom>
              <a:solidFill>
                <a:srgbClr val="C1B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="" xmlns:a16="http://schemas.microsoft.com/office/drawing/2014/main" id="{B7D0C64E-BB01-41D8-8E89-5F170662E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-9525"/>
                <a:ext cx="8503920" cy="5695950"/>
              </a:xfrm>
              <a:custGeom>
                <a:avLst/>
                <a:gdLst>
                  <a:gd name="T0" fmla="*/ 11119 w 11156"/>
                  <a:gd name="T1" fmla="*/ 0 h 7512"/>
                  <a:gd name="T2" fmla="*/ 11119 w 11156"/>
                  <a:gd name="T3" fmla="*/ 4744 h 7512"/>
                  <a:gd name="T4" fmla="*/ 10233 w 11156"/>
                  <a:gd name="T5" fmla="*/ 6128 h 7512"/>
                  <a:gd name="T6" fmla="*/ 2602 w 11156"/>
                  <a:gd name="T7" fmla="*/ 7475 h 7512"/>
                  <a:gd name="T8" fmla="*/ 0 w 11156"/>
                  <a:gd name="T9" fmla="*/ 7325 h 7512"/>
                  <a:gd name="T10" fmla="*/ 0 w 11156"/>
                  <a:gd name="T11" fmla="*/ 7362 h 7512"/>
                  <a:gd name="T12" fmla="*/ 2602 w 11156"/>
                  <a:gd name="T13" fmla="*/ 7512 h 7512"/>
                  <a:gd name="T14" fmla="*/ 10246 w 11156"/>
                  <a:gd name="T15" fmla="*/ 6162 h 7512"/>
                  <a:gd name="T16" fmla="*/ 11156 w 11156"/>
                  <a:gd name="T17" fmla="*/ 4744 h 7512"/>
                  <a:gd name="T18" fmla="*/ 11156 w 11156"/>
                  <a:gd name="T19" fmla="*/ 0 h 7512"/>
                  <a:gd name="T20" fmla="*/ 11119 w 11156"/>
                  <a:gd name="T21" fmla="*/ 0 h 7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56" h="7512">
                    <a:moveTo>
                      <a:pt x="11119" y="0"/>
                    </a:moveTo>
                    <a:lnTo>
                      <a:pt x="11119" y="4744"/>
                    </a:lnTo>
                    <a:cubicBezTo>
                      <a:pt x="11119" y="5456"/>
                      <a:pt x="10837" y="5895"/>
                      <a:pt x="10233" y="6128"/>
                    </a:cubicBezTo>
                    <a:cubicBezTo>
                      <a:pt x="7981" y="6996"/>
                      <a:pt x="5271" y="7475"/>
                      <a:pt x="2602" y="7475"/>
                    </a:cubicBezTo>
                    <a:cubicBezTo>
                      <a:pt x="1739" y="7475"/>
                      <a:pt x="867" y="7424"/>
                      <a:pt x="0" y="7325"/>
                    </a:cubicBezTo>
                    <a:lnTo>
                      <a:pt x="0" y="7362"/>
                    </a:lnTo>
                    <a:cubicBezTo>
                      <a:pt x="867" y="7461"/>
                      <a:pt x="1739" y="7512"/>
                      <a:pt x="2602" y="7512"/>
                    </a:cubicBezTo>
                    <a:cubicBezTo>
                      <a:pt x="5275" y="7512"/>
                      <a:pt x="7990" y="7032"/>
                      <a:pt x="10246" y="6162"/>
                    </a:cubicBezTo>
                    <a:cubicBezTo>
                      <a:pt x="10867" y="5923"/>
                      <a:pt x="11156" y="5473"/>
                      <a:pt x="11156" y="4744"/>
                    </a:cubicBezTo>
                    <a:lnTo>
                      <a:pt x="11156" y="0"/>
                    </a:lnTo>
                    <a:lnTo>
                      <a:pt x="11119" y="0"/>
                    </a:lnTo>
                    <a:close/>
                  </a:path>
                </a:pathLst>
              </a:custGeom>
              <a:solidFill>
                <a:srgbClr val="FFDB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="" xmlns:a16="http://schemas.microsoft.com/office/drawing/2014/main" id="{B4BFD2A9-354D-4A7A-A39C-0AE76840F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5" y="-9525"/>
                <a:ext cx="9006840" cy="5365750"/>
              </a:xfrm>
              <a:custGeom>
                <a:avLst/>
                <a:gdLst>
                  <a:gd name="T0" fmla="*/ 11709 w 11820"/>
                  <a:gd name="T1" fmla="*/ 0 h 7077"/>
                  <a:gd name="T2" fmla="*/ 11709 w 11820"/>
                  <a:gd name="T3" fmla="*/ 4273 h 7077"/>
                  <a:gd name="T4" fmla="*/ 10847 w 11820"/>
                  <a:gd name="T5" fmla="*/ 5622 h 7077"/>
                  <a:gd name="T6" fmla="*/ 3229 w 11820"/>
                  <a:gd name="T7" fmla="*/ 6967 h 7077"/>
                  <a:gd name="T8" fmla="*/ 0 w 11820"/>
                  <a:gd name="T9" fmla="*/ 6736 h 7077"/>
                  <a:gd name="T10" fmla="*/ 0 w 11820"/>
                  <a:gd name="T11" fmla="*/ 6848 h 7077"/>
                  <a:gd name="T12" fmla="*/ 3229 w 11820"/>
                  <a:gd name="T13" fmla="*/ 7077 h 7077"/>
                  <a:gd name="T14" fmla="*/ 10887 w 11820"/>
                  <a:gd name="T15" fmla="*/ 5725 h 7077"/>
                  <a:gd name="T16" fmla="*/ 11820 w 11820"/>
                  <a:gd name="T17" fmla="*/ 4273 h 7077"/>
                  <a:gd name="T18" fmla="*/ 11820 w 11820"/>
                  <a:gd name="T19" fmla="*/ 0 h 7077"/>
                  <a:gd name="T20" fmla="*/ 11709 w 11820"/>
                  <a:gd name="T21" fmla="*/ 0 h 7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820" h="7077">
                    <a:moveTo>
                      <a:pt x="11709" y="0"/>
                    </a:moveTo>
                    <a:lnTo>
                      <a:pt x="11709" y="4273"/>
                    </a:lnTo>
                    <a:cubicBezTo>
                      <a:pt x="11709" y="4967"/>
                      <a:pt x="11435" y="5396"/>
                      <a:pt x="10847" y="5622"/>
                    </a:cubicBezTo>
                    <a:cubicBezTo>
                      <a:pt x="8599" y="6489"/>
                      <a:pt x="5893" y="6967"/>
                      <a:pt x="3229" y="6967"/>
                    </a:cubicBezTo>
                    <a:cubicBezTo>
                      <a:pt x="2152" y="6967"/>
                      <a:pt x="1070" y="6889"/>
                      <a:pt x="0" y="6736"/>
                    </a:cubicBezTo>
                    <a:lnTo>
                      <a:pt x="0" y="6848"/>
                    </a:lnTo>
                    <a:cubicBezTo>
                      <a:pt x="1070" y="7000"/>
                      <a:pt x="2152" y="7077"/>
                      <a:pt x="3229" y="7077"/>
                    </a:cubicBezTo>
                    <a:cubicBezTo>
                      <a:pt x="5907" y="7077"/>
                      <a:pt x="8626" y="6597"/>
                      <a:pt x="10887" y="5725"/>
                    </a:cubicBezTo>
                    <a:cubicBezTo>
                      <a:pt x="11523" y="5480"/>
                      <a:pt x="11820" y="5019"/>
                      <a:pt x="11820" y="4273"/>
                    </a:cubicBezTo>
                    <a:lnTo>
                      <a:pt x="11820" y="0"/>
                    </a:lnTo>
                    <a:lnTo>
                      <a:pt x="11709" y="0"/>
                    </a:lnTo>
                    <a:close/>
                  </a:path>
                </a:pathLst>
              </a:custGeom>
              <a:solidFill>
                <a:srgbClr val="87A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="" xmlns:a16="http://schemas.microsoft.com/office/drawing/2014/main" id="{EE9F87A0-FCF5-4C0D-8030-7B0E330D0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9144" y="4222750"/>
                <a:ext cx="9162288" cy="1711325"/>
              </a:xfrm>
              <a:custGeom>
                <a:avLst/>
                <a:gdLst>
                  <a:gd name="T0" fmla="*/ 12024 w 12024"/>
                  <a:gd name="T1" fmla="*/ 0 h 2257"/>
                  <a:gd name="T2" fmla="*/ 11219 w 12024"/>
                  <a:gd name="T3" fmla="*/ 681 h 2257"/>
                  <a:gd name="T4" fmla="*/ 2705 w 12024"/>
                  <a:gd name="T5" fmla="*/ 2184 h 2257"/>
                  <a:gd name="T6" fmla="*/ 0 w 12024"/>
                  <a:gd name="T7" fmla="*/ 2038 h 2257"/>
                  <a:gd name="T8" fmla="*/ 0 w 12024"/>
                  <a:gd name="T9" fmla="*/ 2112 h 2257"/>
                  <a:gd name="T10" fmla="*/ 2705 w 12024"/>
                  <a:gd name="T11" fmla="*/ 2257 h 2257"/>
                  <a:gd name="T12" fmla="*/ 11246 w 12024"/>
                  <a:gd name="T13" fmla="*/ 750 h 2257"/>
                  <a:gd name="T14" fmla="*/ 12024 w 12024"/>
                  <a:gd name="T15" fmla="*/ 153 h 2257"/>
                  <a:gd name="T16" fmla="*/ 12024 w 12024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24" h="2257">
                    <a:moveTo>
                      <a:pt x="12024" y="0"/>
                    </a:moveTo>
                    <a:cubicBezTo>
                      <a:pt x="11867" y="311"/>
                      <a:pt x="11602" y="533"/>
                      <a:pt x="11219" y="681"/>
                    </a:cubicBezTo>
                    <a:cubicBezTo>
                      <a:pt x="8706" y="1650"/>
                      <a:pt x="5682" y="2184"/>
                      <a:pt x="2705" y="2184"/>
                    </a:cubicBezTo>
                    <a:cubicBezTo>
                      <a:pt x="1809" y="2184"/>
                      <a:pt x="902" y="2135"/>
                      <a:pt x="0" y="2038"/>
                    </a:cubicBezTo>
                    <a:lnTo>
                      <a:pt x="0" y="2112"/>
                    </a:lnTo>
                    <a:cubicBezTo>
                      <a:pt x="902" y="2209"/>
                      <a:pt x="1809" y="2257"/>
                      <a:pt x="2705" y="2257"/>
                    </a:cubicBezTo>
                    <a:cubicBezTo>
                      <a:pt x="5691" y="2257"/>
                      <a:pt x="8724" y="1722"/>
                      <a:pt x="11246" y="750"/>
                    </a:cubicBezTo>
                    <a:cubicBezTo>
                      <a:pt x="11598" y="614"/>
                      <a:pt x="11855" y="418"/>
                      <a:pt x="12024" y="153"/>
                    </a:cubicBezTo>
                    <a:lnTo>
                      <a:pt x="12024" y="0"/>
                    </a:lnTo>
                    <a:close/>
                  </a:path>
                </a:pathLst>
              </a:custGeom>
              <a:solidFill>
                <a:srgbClr val="D4CB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824"/>
                <a:endParaRPr lang="en-CA" sz="198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07F1BB3-8B8D-4578-8F67-DAEF7F7374A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-31091" y="7782764"/>
            <a:ext cx="10364" cy="10363"/>
          </a:xfr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en-CA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9F485DC-74C3-42E9-9CFC-DF8112EC5FF7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-31091" y="7782764"/>
            <a:ext cx="10364" cy="10363"/>
          </a:xfrm>
          <a:prstGeom prst="rect">
            <a:avLst/>
          </a:prstGeom>
        </p:spPr>
        <p:txBody>
          <a:bodyPr/>
          <a:lstStyle>
            <a:lvl1pPr>
              <a:defRPr sz="11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CA" dirty="0">
                <a:solidFill>
                  <a:srgbClr val="FFFFFF">
                    <a:lumMod val="85000"/>
                  </a:srgbClr>
                </a:solidFill>
              </a:rPr>
              <a:t>Insert&gt;Header &amp; Footer&gt;Edit Footer field and click on Apply to A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52D4339A-75B0-40F3-B53E-EA57D3E1B46C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83687" y="2786135"/>
            <a:ext cx="8430566" cy="87301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en-US" noProof="0" dirty="0" smtClean="0"/>
              <a:t>Click to edit Master subtitle style</a:t>
            </a:r>
            <a:endParaRPr lang="en-CA" noProof="0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885D8042-2A28-4C49-8368-0CD7FDB3F17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6314" y="1258093"/>
            <a:ext cx="11504062" cy="1225215"/>
          </a:xfrm>
        </p:spPr>
        <p:txBody>
          <a:bodyPr anchor="t" anchorCtr="0">
            <a:normAutofit/>
          </a:bodyPr>
          <a:lstStyle>
            <a:lvl1pPr algn="l"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CA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D892F1A9-ABC8-431C-8056-01434338347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602442" y="6760587"/>
            <a:ext cx="924990" cy="7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359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624263" y="7337146"/>
            <a:ext cx="558705" cy="2072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0000"/>
                </a:solidFill>
              </a:rPr>
              <a:pPr/>
              <a:t>‹#›</a:t>
            </a:fld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072" y="7337146"/>
            <a:ext cx="12058996" cy="207264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0692665-EEBA-45F4-8CCA-4E4B3AB9C6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8072" y="1005840"/>
            <a:ext cx="12561455" cy="5980176"/>
          </a:xfrm>
        </p:spPr>
        <p:txBody>
          <a:bodyPr>
            <a:normAutofit/>
          </a:bodyPr>
          <a:lstStyle>
            <a:lvl2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indent="-118872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lang="en-CA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CA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57A4EE2F-F924-4236-8548-F7973D50D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87" y="448056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0094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xmlns="" id="{236D1E3F-C79F-4598-BC7B-670BA028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xmlns="" id="{3F17ACFC-AC10-4E44-92D6-B90E8BC0F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xmlns="" id="{A9AE3F76-B9DE-4752-800E-856A591AF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79" y="6736080"/>
            <a:ext cx="12551748" cy="466344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en-CA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xmlns="" id="{AB332BE5-7BCA-402B-80DA-34440063E52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7161328" y="1027522"/>
            <a:ext cx="6029499" cy="570855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0692665-EEBA-45F4-8CCA-4E4B3AB9C6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070" y="1028603"/>
            <a:ext cx="6029499" cy="5697269"/>
          </a:xfrm>
        </p:spPr>
        <p:txBody>
          <a:bodyPr/>
          <a:lstStyle/>
          <a:p>
            <a:pPr lvl="0"/>
            <a:r>
              <a:rPr lang="en-CA" dirty="0"/>
              <a:t>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44F4B7-9B8C-4799-AEEA-05A3EE9EC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511" y="448057"/>
            <a:ext cx="12586578" cy="457200"/>
          </a:xfrm>
        </p:spPr>
        <p:txBody>
          <a:bodyPr/>
          <a:lstStyle/>
          <a:p>
            <a:r>
              <a:rPr lang="en-C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0238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13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9.xml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6.xml"/><Relationship Id="rId10" Type="http://schemas.openxmlformats.org/officeDocument/2006/relationships/theme" Target="../theme/theme17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5.xml"/><Relationship Id="rId10" Type="http://schemas.openxmlformats.org/officeDocument/2006/relationships/theme" Target="../theme/theme18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54.xml"/><Relationship Id="rId10" Type="http://schemas.openxmlformats.org/officeDocument/2006/relationships/theme" Target="../theme/theme1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63.xml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3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74.xml"/><Relationship Id="rId2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72.xml"/><Relationship Id="rId10" Type="http://schemas.openxmlformats.org/officeDocument/2006/relationships/theme" Target="../theme/theme21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81.xml"/><Relationship Id="rId10" Type="http://schemas.openxmlformats.org/officeDocument/2006/relationships/theme" Target="../theme/theme22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3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90.xml"/><Relationship Id="rId10" Type="http://schemas.openxmlformats.org/officeDocument/2006/relationships/theme" Target="../theme/theme23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.xml"/><Relationship Id="rId3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99.xml"/><Relationship Id="rId10" Type="http://schemas.openxmlformats.org/officeDocument/2006/relationships/theme" Target="../theme/theme24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hyperlink" Target="http://images.google.ca/imgres?imgurl=http://www.bbbsola.org/site-bbbs/media/bslondon/RBC%20Leo%20only.jpeg&amp;imgrefurl=http://www.bbbsola.org/en/Home/fundevents/Gala/default.aspx&amp;usg=__j-atKxLW3rNzdTGC2_MGvG5n_SI=&amp;h=300&amp;w=253&amp;sz=101&amp;hl=en&amp;start=6&amp;tbnid=Hn9pJANc6xGeFM:&amp;tbnh=116&amp;tbnw=98&amp;prev=/images?q=RBC+LOGO&amp;gbv=2&amp;hl=en&amp;safe=active" TargetMode="External"/><Relationship Id="rId5" Type="http://schemas.openxmlformats.org/officeDocument/2006/relationships/slideLayout" Target="../slideLayouts/slideLayout29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86BD57E6-D642-4633-BE8D-24D8B16FFC8C}"/>
              </a:ext>
            </a:extLst>
          </p:cNvPr>
          <p:cNvSpPr/>
          <p:nvPr userDrawn="1"/>
        </p:nvSpPr>
        <p:spPr>
          <a:xfrm>
            <a:off x="628071" y="457200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457200" rIns="457200" bIns="457200" rtlCol="0" anchor="ctr"/>
          <a:lstStyle/>
          <a:p>
            <a:pPr algn="ctr"/>
            <a:endParaRPr lang="en-CA" sz="135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4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4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6"/>
            <a:ext cx="12587624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4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6" tIns="45683" rIns="91366" bIns="45683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649054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81" r:id="rId2"/>
    <p:sldLayoutId id="2147483684" r:id="rId3"/>
    <p:sldLayoutId id="2147483682" r:id="rId4"/>
    <p:sldLayoutId id="2147483685" r:id="rId5"/>
    <p:sldLayoutId id="2147483683" r:id="rId6"/>
    <p:sldLayoutId id="2147483686" r:id="rId7"/>
    <p:sldLayoutId id="2147483675" r:id="rId8"/>
  </p:sldLayoutIdLst>
  <p:timing>
    <p:tnLst>
      <p:par>
        <p:cTn id="1" dur="indefinite" restart="never" nodeType="tmRoot"/>
      </p:par>
    </p:tnLst>
  </p:timing>
  <p:hf hdr="0"/>
  <p:txStyles>
    <p:titleStyle>
      <a:lvl1pPr algn="l" defTabSz="685742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742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62" indent="-118862" algn="l" defTabSz="685742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24" indent="-118862" algn="l" defTabSz="685742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586" indent="-118862" algn="l" defTabSz="685742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48" indent="-118862" algn="l" defTabSz="685742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792" indent="-171436" algn="l" defTabSz="68574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63" indent="-171436" algn="l" defTabSz="68574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35" indent="-171436" algn="l" defTabSz="68574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06" indent="-171436" algn="l" defTabSz="68574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742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742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742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742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742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742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742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742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742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 userDrawn="1">
          <p15:clr>
            <a:srgbClr val="F26B43"/>
          </p15:clr>
        </p15:guide>
        <p15:guide id="2" pos="4352" userDrawn="1">
          <p15:clr>
            <a:srgbClr val="F26B43"/>
          </p15:clr>
        </p15:guide>
        <p15:guide id="3" pos="435" userDrawn="1">
          <p15:clr>
            <a:srgbClr val="F26B43"/>
          </p15:clr>
        </p15:guide>
        <p15:guide id="4" pos="7649" userDrawn="1">
          <p15:clr>
            <a:srgbClr val="F26B43"/>
          </p15:clr>
        </p15:guide>
        <p15:guide id="5" orient="horz" pos="986" userDrawn="1">
          <p15:clr>
            <a:srgbClr val="F26B43"/>
          </p15:clr>
        </p15:guide>
        <p15:guide id="6" orient="horz" pos="4243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7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140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581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09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6048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979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3" y="457202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6" tIns="457176" rIns="457176" bIns="457176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1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5" y="1001686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2" y="448058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7" y="7246763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2" tIns="45681" rIns="91362" bIns="45681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694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3" y="457202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6" tIns="457176" rIns="457176" bIns="457176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1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5" y="1001686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2" y="448058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7" y="7246763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2" tIns="45681" rIns="91362" bIns="45681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305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3" y="457202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6" tIns="457176" rIns="457176" bIns="457176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1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5" y="1001686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2" y="448058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7" y="7246763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2" tIns="45681" rIns="91362" bIns="45681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002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023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088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17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3" y="457202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6" tIns="457176" rIns="457176" bIns="457176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1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5" y="1001686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2" y="448058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7" y="7246763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2" tIns="45681" rIns="91362" bIns="45681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835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3" y="457202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6" tIns="457176" rIns="457176" bIns="457176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1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5" y="1001686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2" y="448058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7" y="7246763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2" tIns="45681" rIns="91362" bIns="45681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85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3" y="457202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6" tIns="457176" rIns="457176" bIns="457176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1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5" y="1001686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2" y="448058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7" y="7246763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2" tIns="45681" rIns="91362" bIns="45681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657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794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621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" name="Line 101"/>
          <p:cNvSpPr>
            <a:spLocks noChangeShapeType="1"/>
          </p:cNvSpPr>
          <p:nvPr/>
        </p:nvSpPr>
        <p:spPr bwMode="auto">
          <a:xfrm>
            <a:off x="541149" y="7124700"/>
            <a:ext cx="12735304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5590" tIns="62795" rIns="125590" bIns="62795" anchor="ctr"/>
          <a:lstStyle/>
          <a:p>
            <a:pPr defTabSz="1036290"/>
            <a:endParaRPr lang="en-US" sz="1374" dirty="0">
              <a:solidFill>
                <a:srgbClr val="000000"/>
              </a:solidFill>
            </a:endParaRPr>
          </a:p>
        </p:txBody>
      </p:sp>
      <p:sp>
        <p:nvSpPr>
          <p:cNvPr id="1132" name="Pageheading"/>
          <p:cNvSpPr>
            <a:spLocks noGrp="1" noChangeArrowheads="1"/>
          </p:cNvSpPr>
          <p:nvPr>
            <p:ph type="title"/>
          </p:nvPr>
        </p:nvSpPr>
        <p:spPr bwMode="auto">
          <a:xfrm>
            <a:off x="541150" y="536193"/>
            <a:ext cx="12727368" cy="245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33" name="Line 109"/>
          <p:cNvSpPr>
            <a:spLocks noChangeShapeType="1"/>
          </p:cNvSpPr>
          <p:nvPr/>
        </p:nvSpPr>
        <p:spPr bwMode="auto">
          <a:xfrm>
            <a:off x="541149" y="824177"/>
            <a:ext cx="12735304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5590" tIns="62795" rIns="125590" bIns="62795" anchor="ctr"/>
          <a:lstStyle/>
          <a:p>
            <a:pPr defTabSz="1036290"/>
            <a:endParaRPr lang="en-US" sz="2473" dirty="0">
              <a:solidFill>
                <a:srgbClr val="000000"/>
              </a:solidFill>
            </a:endParaRPr>
          </a:p>
        </p:txBody>
      </p:sp>
      <p:sp>
        <p:nvSpPr>
          <p:cNvPr id="1136" name="Rectangle 1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150" y="1350062"/>
            <a:ext cx="12727368" cy="5485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53989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Rectangle 5"/>
          <p:cNvSpPr txBox="1">
            <a:spLocks noChangeArrowheads="1"/>
          </p:cNvSpPr>
          <p:nvPr/>
        </p:nvSpPr>
        <p:spPr bwMode="auto">
          <a:xfrm>
            <a:off x="540758" y="7175113"/>
            <a:ext cx="300347" cy="286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74166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defTabSz="1042988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DE772D7A-59B7-4B0A-8C4B-B43329AEA75C}" type="slidenum">
              <a:rPr lang="en-US" sz="1374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1374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9" descr="RBC%2520Leo%2520only">
            <a:hlinkClick r:id="rId11"/>
          </p:cNvPr>
          <p:cNvPicPr>
            <a:picLocks noChangeAspect="1" noChangeArrowheads="1"/>
          </p:cNvPicPr>
          <p:nvPr userDrawn="1"/>
        </p:nvPicPr>
        <p:blipFill>
          <a:blip r:embed="rId12"/>
          <a:srcRect/>
          <a:stretch>
            <a:fillRect/>
          </a:stretch>
        </p:blipFill>
        <p:spPr bwMode="auto">
          <a:xfrm>
            <a:off x="12852400" y="7188817"/>
            <a:ext cx="421185" cy="445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881777" y="7323124"/>
            <a:ext cx="6560424" cy="157783"/>
          </a:xfrm>
          <a:prstGeom prst="rect">
            <a:avLst/>
          </a:prstGeom>
        </p:spPr>
        <p:txBody>
          <a:bodyPr lIns="81804" tIns="40899" rIns="81804" bIns="40899" anchor="b"/>
          <a:lstStyle>
            <a:defPPr>
              <a:defRPr lang="en-US"/>
            </a:defPPr>
            <a:lvl1pPr marL="0" algn="l" defTabSz="914400" rtl="0" eaLnBrk="1" latinLnBrk="0" hangingPunct="1">
              <a:defRPr lang="en-US" sz="1000" b="0" i="0" u="none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|   Volcker Metrics Oversight Committee |  </a:t>
            </a:r>
            <a:fld id="{10B5470E-4367-4352-A474-8CB37FBFA194}" type="datetime4">
              <a:rPr lang="en-US" sz="100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>
                <a:defRPr/>
              </a:pPr>
              <a:t>July 15, 2021</a:t>
            </a:fld>
            <a:endParaRPr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418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702019" rtl="0" eaLnBrk="1" fontAlgn="base" hangingPunct="1">
        <a:spcBef>
          <a:spcPct val="0"/>
        </a:spcBef>
        <a:spcAft>
          <a:spcPct val="0"/>
        </a:spcAft>
        <a:defRPr sz="2199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defTabSz="702019" rtl="0" eaLnBrk="1" fontAlgn="base" hangingPunct="1">
        <a:spcBef>
          <a:spcPct val="0"/>
        </a:spcBef>
        <a:spcAft>
          <a:spcPct val="0"/>
        </a:spcAft>
        <a:defRPr sz="2199">
          <a:solidFill>
            <a:schemeClr val="tx2"/>
          </a:solidFill>
          <a:latin typeface="Arial" pitchFamily="34" charset="0"/>
          <a:ea typeface="Geneva" pitchFamily="1" charset="-128"/>
        </a:defRPr>
      </a:lvl2pPr>
      <a:lvl3pPr algn="l" defTabSz="702019" rtl="0" eaLnBrk="1" fontAlgn="base" hangingPunct="1">
        <a:spcBef>
          <a:spcPct val="0"/>
        </a:spcBef>
        <a:spcAft>
          <a:spcPct val="0"/>
        </a:spcAft>
        <a:defRPr sz="2199">
          <a:solidFill>
            <a:schemeClr val="tx2"/>
          </a:solidFill>
          <a:latin typeface="Arial" pitchFamily="34" charset="0"/>
          <a:ea typeface="Geneva" pitchFamily="1" charset="-128"/>
        </a:defRPr>
      </a:lvl3pPr>
      <a:lvl4pPr algn="l" defTabSz="702019" rtl="0" eaLnBrk="1" fontAlgn="base" hangingPunct="1">
        <a:spcBef>
          <a:spcPct val="0"/>
        </a:spcBef>
        <a:spcAft>
          <a:spcPct val="0"/>
        </a:spcAft>
        <a:defRPr sz="2199">
          <a:solidFill>
            <a:schemeClr val="tx2"/>
          </a:solidFill>
          <a:latin typeface="Arial" pitchFamily="34" charset="0"/>
          <a:ea typeface="Geneva" pitchFamily="1" charset="-128"/>
        </a:defRPr>
      </a:lvl4pPr>
      <a:lvl5pPr algn="l" defTabSz="702019" rtl="0" eaLnBrk="1" fontAlgn="base" hangingPunct="1">
        <a:spcBef>
          <a:spcPct val="0"/>
        </a:spcBef>
        <a:spcAft>
          <a:spcPct val="0"/>
        </a:spcAft>
        <a:defRPr sz="2199">
          <a:solidFill>
            <a:schemeClr val="tx2"/>
          </a:solidFill>
          <a:latin typeface="Arial" pitchFamily="34" charset="0"/>
          <a:ea typeface="Geneva" pitchFamily="1" charset="-128"/>
        </a:defRPr>
      </a:lvl5pPr>
      <a:lvl6pPr marL="627894" algn="l" defTabSz="702019" rtl="0" eaLnBrk="1" fontAlgn="base" hangingPunct="1">
        <a:spcBef>
          <a:spcPct val="0"/>
        </a:spcBef>
        <a:spcAft>
          <a:spcPct val="0"/>
        </a:spcAft>
        <a:defRPr sz="2199">
          <a:solidFill>
            <a:schemeClr val="tx2"/>
          </a:solidFill>
          <a:latin typeface="Arial" pitchFamily="34" charset="0"/>
          <a:ea typeface="Geneva" pitchFamily="1" charset="-128"/>
        </a:defRPr>
      </a:lvl6pPr>
      <a:lvl7pPr marL="1255784" algn="l" defTabSz="702019" rtl="0" eaLnBrk="1" fontAlgn="base" hangingPunct="1">
        <a:spcBef>
          <a:spcPct val="0"/>
        </a:spcBef>
        <a:spcAft>
          <a:spcPct val="0"/>
        </a:spcAft>
        <a:defRPr sz="2199">
          <a:solidFill>
            <a:schemeClr val="tx2"/>
          </a:solidFill>
          <a:latin typeface="Arial" pitchFamily="34" charset="0"/>
          <a:ea typeface="Geneva" pitchFamily="1" charset="-128"/>
        </a:defRPr>
      </a:lvl7pPr>
      <a:lvl8pPr marL="1883678" algn="l" defTabSz="702019" rtl="0" eaLnBrk="1" fontAlgn="base" hangingPunct="1">
        <a:spcBef>
          <a:spcPct val="0"/>
        </a:spcBef>
        <a:spcAft>
          <a:spcPct val="0"/>
        </a:spcAft>
        <a:defRPr sz="2199">
          <a:solidFill>
            <a:schemeClr val="tx2"/>
          </a:solidFill>
          <a:latin typeface="Arial" pitchFamily="34" charset="0"/>
          <a:ea typeface="Geneva" pitchFamily="1" charset="-128"/>
        </a:defRPr>
      </a:lvl8pPr>
      <a:lvl9pPr marL="2511570" algn="l" defTabSz="702019" rtl="0" eaLnBrk="1" fontAlgn="base" hangingPunct="1">
        <a:spcBef>
          <a:spcPct val="0"/>
        </a:spcBef>
        <a:spcAft>
          <a:spcPct val="0"/>
        </a:spcAft>
        <a:defRPr sz="2199">
          <a:solidFill>
            <a:schemeClr val="tx2"/>
          </a:solidFill>
          <a:latin typeface="Arial" pitchFamily="34" charset="0"/>
          <a:ea typeface="Geneva" pitchFamily="1" charset="-128"/>
        </a:defRPr>
      </a:lvl9pPr>
    </p:titleStyle>
    <p:bodyStyle>
      <a:lvl1pPr marL="226040" indent="-200926" algn="l" defTabSz="702019" rtl="0" eaLnBrk="1" fontAlgn="base" hangingPunct="1">
        <a:spcBef>
          <a:spcPts val="1099"/>
        </a:spcBef>
        <a:spcAft>
          <a:spcPts val="0"/>
        </a:spcAft>
        <a:buClr>
          <a:schemeClr val="accent2"/>
        </a:buClr>
        <a:buFont typeface="Wingdings" panose="05000000000000000000" pitchFamily="2" charset="2"/>
        <a:buChar char="§"/>
        <a:defRPr sz="1374" b="0">
          <a:solidFill>
            <a:schemeClr val="tx1"/>
          </a:solidFill>
          <a:latin typeface="+mn-lt"/>
          <a:ea typeface="+mn-ea"/>
          <a:cs typeface="+mn-cs"/>
        </a:defRPr>
      </a:lvl1pPr>
      <a:lvl2pPr marL="477200" indent="-200926" algn="l" defTabSz="702019" rtl="0" eaLnBrk="1" fontAlgn="base" hangingPunct="1">
        <a:lnSpc>
          <a:spcPct val="100000"/>
        </a:lnSpc>
        <a:spcBef>
          <a:spcPts val="549"/>
        </a:spcBef>
        <a:spcAft>
          <a:spcPts val="0"/>
        </a:spcAft>
        <a:buClrTx/>
        <a:buFont typeface="Symbol" panose="05050102010706020507" pitchFamily="18" charset="2"/>
        <a:buChar char="-"/>
        <a:defRPr sz="1374">
          <a:solidFill>
            <a:schemeClr val="tx1"/>
          </a:solidFill>
          <a:latin typeface="+mn-lt"/>
        </a:defRPr>
      </a:lvl2pPr>
      <a:lvl3pPr marL="728355" indent="-200926" algn="l" defTabSz="702019" rtl="0" eaLnBrk="1" fontAlgn="base" hangingPunct="1">
        <a:lnSpc>
          <a:spcPct val="100000"/>
        </a:lnSpc>
        <a:spcBef>
          <a:spcPts val="549"/>
        </a:spcBef>
        <a:spcAft>
          <a:spcPts val="0"/>
        </a:spcAft>
        <a:buClrTx/>
        <a:buFont typeface="Symbol" panose="05050102010706020507" pitchFamily="18" charset="2"/>
        <a:buChar char="-"/>
        <a:defRPr sz="1374">
          <a:solidFill>
            <a:schemeClr val="tx1"/>
          </a:solidFill>
          <a:latin typeface="+mn-lt"/>
        </a:defRPr>
      </a:lvl3pPr>
      <a:lvl4pPr marL="979511" indent="-200926" algn="l" defTabSz="702019" rtl="0" eaLnBrk="1" fontAlgn="base" hangingPunct="1">
        <a:lnSpc>
          <a:spcPct val="100000"/>
        </a:lnSpc>
        <a:spcBef>
          <a:spcPts val="549"/>
        </a:spcBef>
        <a:spcAft>
          <a:spcPts val="0"/>
        </a:spcAft>
        <a:buClrTx/>
        <a:buSzPct val="85000"/>
        <a:buFont typeface="Symbol" panose="05050102010706020507" pitchFamily="18" charset="2"/>
        <a:buChar char="-"/>
        <a:defRPr sz="1374">
          <a:solidFill>
            <a:schemeClr val="tx1"/>
          </a:solidFill>
          <a:latin typeface="+mn-lt"/>
        </a:defRPr>
      </a:lvl4pPr>
      <a:lvl5pPr marL="1265205" indent="-235460" algn="l" defTabSz="702019" rtl="0" eaLnBrk="1" fontAlgn="base" hangingPunct="1">
        <a:lnSpc>
          <a:spcPct val="100000"/>
        </a:lnSpc>
        <a:spcBef>
          <a:spcPts val="549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374">
          <a:solidFill>
            <a:schemeClr val="tx1"/>
          </a:solidFill>
          <a:latin typeface="+mn-lt"/>
        </a:defRPr>
      </a:lvl5pPr>
      <a:lvl6pPr marL="1316829" indent="-250721" algn="l" defTabSz="702019" rtl="0" eaLnBrk="1" fontAlgn="base" hangingPunct="1">
        <a:spcBef>
          <a:spcPct val="0"/>
        </a:spcBef>
        <a:spcAft>
          <a:spcPts val="687"/>
        </a:spcAft>
        <a:buSzPct val="65000"/>
        <a:buFont typeface="Arial" pitchFamily="34" charset="0"/>
        <a:buChar char="–"/>
        <a:defRPr sz="1374">
          <a:solidFill>
            <a:schemeClr val="tx1"/>
          </a:solidFill>
          <a:latin typeface="+mn-lt"/>
        </a:defRPr>
      </a:lvl6pPr>
      <a:lvl7pPr marL="1944722" indent="-250721" algn="l" defTabSz="702019" rtl="0" eaLnBrk="1" fontAlgn="base" hangingPunct="1">
        <a:spcBef>
          <a:spcPct val="0"/>
        </a:spcBef>
        <a:spcAft>
          <a:spcPts val="687"/>
        </a:spcAft>
        <a:buSzPct val="65000"/>
        <a:buFont typeface="Arial" pitchFamily="34" charset="0"/>
        <a:buChar char="–"/>
        <a:defRPr sz="1374">
          <a:solidFill>
            <a:schemeClr val="tx1"/>
          </a:solidFill>
          <a:latin typeface="+mn-lt"/>
        </a:defRPr>
      </a:lvl7pPr>
      <a:lvl8pPr marL="2572615" indent="-250721" algn="l" defTabSz="702019" rtl="0" eaLnBrk="1" fontAlgn="base" hangingPunct="1">
        <a:spcBef>
          <a:spcPct val="0"/>
        </a:spcBef>
        <a:spcAft>
          <a:spcPts val="687"/>
        </a:spcAft>
        <a:buSzPct val="65000"/>
        <a:buFont typeface="Arial" pitchFamily="34" charset="0"/>
        <a:buChar char="–"/>
        <a:defRPr sz="1374">
          <a:solidFill>
            <a:schemeClr val="tx1"/>
          </a:solidFill>
          <a:latin typeface="+mn-lt"/>
        </a:defRPr>
      </a:lvl8pPr>
      <a:lvl9pPr marL="3200507" indent="-250721" algn="l" defTabSz="702019" rtl="0" eaLnBrk="1" fontAlgn="base" hangingPunct="1">
        <a:spcBef>
          <a:spcPct val="0"/>
        </a:spcBef>
        <a:spcAft>
          <a:spcPts val="687"/>
        </a:spcAft>
        <a:buSzPct val="65000"/>
        <a:buFont typeface="Arial" pitchFamily="34" charset="0"/>
        <a:buChar char="–"/>
        <a:defRPr sz="1374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55784" rtl="0" eaLnBrk="1" latinLnBrk="0" hangingPunct="1">
        <a:defRPr sz="2473" kern="1200">
          <a:solidFill>
            <a:schemeClr val="tx1"/>
          </a:solidFill>
          <a:latin typeface="+mn-lt"/>
          <a:ea typeface="+mn-ea"/>
          <a:cs typeface="+mn-cs"/>
        </a:defRPr>
      </a:lvl1pPr>
      <a:lvl2pPr marL="627894" algn="l" defTabSz="1255784" rtl="0" eaLnBrk="1" latinLnBrk="0" hangingPunct="1">
        <a:defRPr sz="2473" kern="1200">
          <a:solidFill>
            <a:schemeClr val="tx1"/>
          </a:solidFill>
          <a:latin typeface="+mn-lt"/>
          <a:ea typeface="+mn-ea"/>
          <a:cs typeface="+mn-cs"/>
        </a:defRPr>
      </a:lvl2pPr>
      <a:lvl3pPr marL="1255784" algn="l" defTabSz="1255784" rtl="0" eaLnBrk="1" latinLnBrk="0" hangingPunct="1">
        <a:defRPr sz="2473" kern="1200">
          <a:solidFill>
            <a:schemeClr val="tx1"/>
          </a:solidFill>
          <a:latin typeface="+mn-lt"/>
          <a:ea typeface="+mn-ea"/>
          <a:cs typeface="+mn-cs"/>
        </a:defRPr>
      </a:lvl3pPr>
      <a:lvl4pPr marL="1883678" algn="l" defTabSz="1255784" rtl="0" eaLnBrk="1" latinLnBrk="0" hangingPunct="1">
        <a:defRPr sz="2473" kern="1200">
          <a:solidFill>
            <a:schemeClr val="tx1"/>
          </a:solidFill>
          <a:latin typeface="+mn-lt"/>
          <a:ea typeface="+mn-ea"/>
          <a:cs typeface="+mn-cs"/>
        </a:defRPr>
      </a:lvl4pPr>
      <a:lvl5pPr marL="2511570" algn="l" defTabSz="1255784" rtl="0" eaLnBrk="1" latinLnBrk="0" hangingPunct="1">
        <a:defRPr sz="2473" kern="1200">
          <a:solidFill>
            <a:schemeClr val="tx1"/>
          </a:solidFill>
          <a:latin typeface="+mn-lt"/>
          <a:ea typeface="+mn-ea"/>
          <a:cs typeface="+mn-cs"/>
        </a:defRPr>
      </a:lvl5pPr>
      <a:lvl6pPr marL="3139462" algn="l" defTabSz="1255784" rtl="0" eaLnBrk="1" latinLnBrk="0" hangingPunct="1">
        <a:defRPr sz="2473" kern="1200">
          <a:solidFill>
            <a:schemeClr val="tx1"/>
          </a:solidFill>
          <a:latin typeface="+mn-lt"/>
          <a:ea typeface="+mn-ea"/>
          <a:cs typeface="+mn-cs"/>
        </a:defRPr>
      </a:lvl6pPr>
      <a:lvl7pPr marL="3767354" algn="l" defTabSz="1255784" rtl="0" eaLnBrk="1" latinLnBrk="0" hangingPunct="1">
        <a:defRPr sz="2473" kern="1200">
          <a:solidFill>
            <a:schemeClr val="tx1"/>
          </a:solidFill>
          <a:latin typeface="+mn-lt"/>
          <a:ea typeface="+mn-ea"/>
          <a:cs typeface="+mn-cs"/>
        </a:defRPr>
      </a:lvl7pPr>
      <a:lvl8pPr marL="4395247" algn="l" defTabSz="1255784" rtl="0" eaLnBrk="1" latinLnBrk="0" hangingPunct="1">
        <a:defRPr sz="2473" kern="1200">
          <a:solidFill>
            <a:schemeClr val="tx1"/>
          </a:solidFill>
          <a:latin typeface="+mn-lt"/>
          <a:ea typeface="+mn-ea"/>
          <a:cs typeface="+mn-cs"/>
        </a:defRPr>
      </a:lvl8pPr>
      <a:lvl9pPr marL="5023139" algn="l" defTabSz="1255784" rtl="0" eaLnBrk="1" latinLnBrk="0" hangingPunct="1">
        <a:defRPr sz="247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" name="Line 101"/>
          <p:cNvSpPr>
            <a:spLocks noChangeShapeType="1"/>
          </p:cNvSpPr>
          <p:nvPr/>
        </p:nvSpPr>
        <p:spPr bwMode="auto">
          <a:xfrm>
            <a:off x="541148" y="7318943"/>
            <a:ext cx="12735305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1036290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1132" name="Pageheading"/>
          <p:cNvSpPr>
            <a:spLocks noGrp="1" noChangeArrowheads="1"/>
          </p:cNvSpPr>
          <p:nvPr>
            <p:ph type="title"/>
          </p:nvPr>
        </p:nvSpPr>
        <p:spPr bwMode="auto">
          <a:xfrm>
            <a:off x="541149" y="536193"/>
            <a:ext cx="12727368" cy="245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133" name="Line 109"/>
          <p:cNvSpPr>
            <a:spLocks noChangeShapeType="1"/>
          </p:cNvSpPr>
          <p:nvPr/>
        </p:nvSpPr>
        <p:spPr bwMode="auto">
          <a:xfrm>
            <a:off x="541148" y="824177"/>
            <a:ext cx="12735305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1036290" fontAlgn="base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1136" name="Rectangle 1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1149" y="1350061"/>
            <a:ext cx="12727368" cy="5485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5400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39" name="Text Box 115"/>
          <p:cNvSpPr txBox="1">
            <a:spLocks noChangeArrowheads="1"/>
          </p:cNvSpPr>
          <p:nvPr/>
        </p:nvSpPr>
        <p:spPr bwMode="auto">
          <a:xfrm>
            <a:off x="9153593" y="7315763"/>
            <a:ext cx="4114536" cy="209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55238" rIns="0" bIns="0">
            <a:spAutoFit/>
          </a:bodyPr>
          <a:lstStyle>
            <a:lvl1pPr defTabSz="10191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11175" defTabSz="101917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019175" defTabSz="1019175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28763" defTabSz="1019175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36763" defTabSz="1019175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93963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51163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08363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65563" defTabSz="1019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RBC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540756" y="7327514"/>
            <a:ext cx="300348" cy="208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53987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defTabSz="1042988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DE772D7A-59B7-4B0A-8C4B-B43329AEA75C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670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511065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defTabSz="511065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  <a:ea typeface="Geneva" pitchFamily="1" charset="-128"/>
        </a:defRPr>
      </a:lvl2pPr>
      <a:lvl3pPr algn="l" defTabSz="511065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  <a:ea typeface="Geneva" pitchFamily="1" charset="-128"/>
        </a:defRPr>
      </a:lvl3pPr>
      <a:lvl4pPr algn="l" defTabSz="511065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  <a:ea typeface="Geneva" pitchFamily="1" charset="-128"/>
        </a:defRPr>
      </a:lvl4pPr>
      <a:lvl5pPr algn="l" defTabSz="511065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  <a:ea typeface="Geneva" pitchFamily="1" charset="-128"/>
        </a:defRPr>
      </a:lvl5pPr>
      <a:lvl6pPr marL="457102" algn="l" defTabSz="511065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  <a:ea typeface="Geneva" pitchFamily="1" charset="-128"/>
        </a:defRPr>
      </a:lvl6pPr>
      <a:lvl7pPr marL="914205" algn="l" defTabSz="511065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  <a:ea typeface="Geneva" pitchFamily="1" charset="-128"/>
        </a:defRPr>
      </a:lvl7pPr>
      <a:lvl8pPr marL="1371307" algn="l" defTabSz="511065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  <a:ea typeface="Geneva" pitchFamily="1" charset="-128"/>
        </a:defRPr>
      </a:lvl8pPr>
      <a:lvl9pPr marL="1828410" algn="l" defTabSz="511065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  <a:ea typeface="Geneva" pitchFamily="1" charset="-128"/>
        </a:defRPr>
      </a:lvl9pPr>
    </p:titleStyle>
    <p:bodyStyle>
      <a:lvl1pPr marL="164556" indent="-146273" algn="l" defTabSz="511065" rtl="0" eaLnBrk="1" fontAlgn="base" hangingPunct="1">
        <a:spcBef>
          <a:spcPts val="800"/>
        </a:spcBef>
        <a:spcAft>
          <a:spcPts val="0"/>
        </a:spcAft>
        <a:buClr>
          <a:schemeClr val="accent2"/>
        </a:buClr>
        <a:buFont typeface="Wingdings" panose="05000000000000000000" pitchFamily="2" charset="2"/>
        <a:buChar char="§"/>
        <a:defRPr sz="1000" b="0">
          <a:solidFill>
            <a:schemeClr val="tx1"/>
          </a:solidFill>
          <a:latin typeface="+mn-lt"/>
          <a:ea typeface="+mn-ea"/>
          <a:cs typeface="+mn-cs"/>
        </a:defRPr>
      </a:lvl1pPr>
      <a:lvl2pPr marL="347397" indent="-146273" algn="l" defTabSz="511065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Tx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</a:defRPr>
      </a:lvl2pPr>
      <a:lvl3pPr marL="530238" indent="-146273" algn="l" defTabSz="511065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Tx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</a:defRPr>
      </a:lvl3pPr>
      <a:lvl4pPr marL="713079" indent="-146273" algn="l" defTabSz="511065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Tx/>
        <a:buSzPct val="85000"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</a:defRPr>
      </a:lvl4pPr>
      <a:lvl5pPr marL="921061" indent="-171413" algn="l" defTabSz="511065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</a:defRPr>
      </a:lvl5pPr>
      <a:lvl6pPr marL="958645" indent="-182524" algn="l" defTabSz="511065" rtl="0" eaLnBrk="1" fontAlgn="base" hangingPunct="1">
        <a:spcBef>
          <a:spcPct val="0"/>
        </a:spcBef>
        <a:spcAft>
          <a:spcPts val="500"/>
        </a:spcAft>
        <a:buSzPct val="65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6pPr>
      <a:lvl7pPr marL="1415747" indent="-182524" algn="l" defTabSz="511065" rtl="0" eaLnBrk="1" fontAlgn="base" hangingPunct="1">
        <a:spcBef>
          <a:spcPct val="0"/>
        </a:spcBef>
        <a:spcAft>
          <a:spcPts val="500"/>
        </a:spcAft>
        <a:buSzPct val="65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7pPr>
      <a:lvl8pPr marL="1872851" indent="-182524" algn="l" defTabSz="511065" rtl="0" eaLnBrk="1" fontAlgn="base" hangingPunct="1">
        <a:spcBef>
          <a:spcPct val="0"/>
        </a:spcBef>
        <a:spcAft>
          <a:spcPts val="500"/>
        </a:spcAft>
        <a:buSzPct val="65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8pPr>
      <a:lvl9pPr marL="2329951" indent="-182524" algn="l" defTabSz="511065" rtl="0" eaLnBrk="1" fontAlgn="base" hangingPunct="1">
        <a:spcBef>
          <a:spcPct val="0"/>
        </a:spcBef>
        <a:spcAft>
          <a:spcPts val="500"/>
        </a:spcAft>
        <a:buSzPct val="65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5" algn="l" defTabSz="914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7" algn="l" defTabSz="914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0" algn="l" defTabSz="914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1" algn="l" defTabSz="914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4" algn="l" defTabSz="914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16" algn="l" defTabSz="914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18" algn="l" defTabSz="9142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581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195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395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6BD57E6-D642-4633-BE8D-24D8B16FFC8C}"/>
              </a:ext>
            </a:extLst>
          </p:cNvPr>
          <p:cNvSpPr/>
          <p:nvPr userDrawn="1"/>
        </p:nvSpPr>
        <p:spPr>
          <a:xfrm>
            <a:off x="628072" y="457201"/>
            <a:ext cx="12561455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88" tIns="457188" rIns="457188" bIns="457188" rtlCol="0" anchor="ctr"/>
          <a:lstStyle/>
          <a:p>
            <a:pPr algn="ctr" defTabSz="1018824"/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565CCC4-AF7B-49EE-BDA4-ACAA8915851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2666950" y="7337146"/>
            <a:ext cx="558705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0D53123-EF31-4C08-A865-932FC064F9C8}" type="slidenum">
              <a:rPr lang="en-CA" smtClean="0">
                <a:solidFill>
                  <a:srgbClr val="003168"/>
                </a:solidFill>
              </a:rPr>
              <a:pPr/>
              <a:t>‹#›</a:t>
            </a:fld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5A74FB-A694-4689-8957-333AFA6871D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28072" y="7337146"/>
            <a:ext cx="12038878" cy="2072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en-CA" dirty="0">
              <a:solidFill>
                <a:srgbClr val="003168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9A319DE-B60D-42AD-BAA6-1D3621150E6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8074" y="1001685"/>
            <a:ext cx="12561455" cy="5975188"/>
          </a:xfrm>
          <a:prstGeom prst="rect">
            <a:avLst/>
          </a:prstGeom>
        </p:spPr>
        <p:txBody>
          <a:bodyPr vert="horz" lIns="91440" tIns="0" rIns="0" bIns="0" rtlCol="0">
            <a:normAutofit/>
          </a:bodyPr>
          <a:lstStyle/>
          <a:p>
            <a:pPr lvl="1"/>
            <a:r>
              <a:rPr lang="en-CA" dirty="0" smtClean="0"/>
              <a:t>Second </a:t>
            </a:r>
            <a:r>
              <a:rPr lang="en-CA" dirty="0"/>
              <a:t>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7A4EE2F-F924-4236-8548-F7973D50D79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28071" y="448057"/>
            <a:ext cx="12587625" cy="45720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CA" dirty="0"/>
              <a:t>Click to edit Master title style</a:t>
            </a:r>
          </a:p>
        </p:txBody>
      </p:sp>
      <p:sp>
        <p:nvSpPr>
          <p:cNvPr id="9" name="Line 101"/>
          <p:cNvSpPr>
            <a:spLocks noChangeShapeType="1"/>
          </p:cNvSpPr>
          <p:nvPr userDrawn="1"/>
        </p:nvSpPr>
        <p:spPr bwMode="auto">
          <a:xfrm flipV="1">
            <a:off x="641156" y="7246762"/>
            <a:ext cx="12561455" cy="3101"/>
          </a:xfrm>
          <a:prstGeom prst="line">
            <a:avLst/>
          </a:prstGeom>
          <a:noFill/>
          <a:ln w="9525">
            <a:solidFill>
              <a:srgbClr val="87AFBF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64" tIns="45682" rIns="91364" bIns="45682" anchor="ctr"/>
          <a:lstStyle>
            <a:defPPr>
              <a:defRPr lang="en-US" smtId="4294967295">
                <a:effectLst/>
              </a:defRPr>
            </a:defPPr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</a:lstStyle>
          <a:p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954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8872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A"/>
      </a:defPPr>
      <a:lvl1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3168">
          <p15:clr>
            <a:srgbClr val="F26B43"/>
          </p15:clr>
        </p15:guide>
        <p15:guide id="3" pos="317">
          <p15:clr>
            <a:srgbClr val="F26B43"/>
          </p15:clr>
        </p15:guide>
        <p15:guide id="4" pos="5568">
          <p15:clr>
            <a:srgbClr val="F26B43"/>
          </p15:clr>
        </p15:guide>
        <p15:guide id="5" orient="horz" pos="986">
          <p15:clr>
            <a:srgbClr val="F26B43"/>
          </p15:clr>
        </p15:guide>
        <p15:guide id="6" orient="horz" pos="424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o-football-reference.com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5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noProof="0" smtClean="0"/>
              <a:pPr/>
              <a:t>1</a:t>
            </a:fld>
            <a:endParaRPr lang="en-CA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 noProof="0" smtClean="0"/>
              <a:t>Insert&gt;Header &amp; Footer&gt;Edit Footer field and click on Apply to All</a:t>
            </a:r>
            <a:endParaRPr lang="en-CA" noProof="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46313" y="2046801"/>
            <a:ext cx="6136956" cy="873015"/>
          </a:xfrm>
        </p:spPr>
        <p:txBody>
          <a:bodyPr/>
          <a:lstStyle/>
          <a:p>
            <a:r>
              <a:rPr lang="en-US" dirty="0" smtClean="0"/>
              <a:t>Picking a Winner</a:t>
            </a:r>
          </a:p>
        </p:txBody>
      </p:sp>
      <p:sp>
        <p:nvSpPr>
          <p:cNvPr id="7" name="Text Placeholder 4"/>
          <p:cNvSpPr txBox="1">
            <a:spLocks/>
          </p:cNvSpPr>
          <p:nvPr/>
        </p:nvSpPr>
        <p:spPr>
          <a:xfrm>
            <a:off x="646313" y="6967835"/>
            <a:ext cx="5797360" cy="240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6858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7744" indent="-118872" algn="l" defTabSz="6858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616" indent="-118872" algn="l" defTabSz="6858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488" indent="-118872" algn="l" defTabSz="6858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9" name="Title 6"/>
          <p:cNvSpPr>
            <a:spLocks noGrp="1"/>
          </p:cNvSpPr>
          <p:nvPr>
            <p:ph type="ctrTitle"/>
          </p:nvPr>
        </p:nvSpPr>
        <p:spPr>
          <a:xfrm>
            <a:off x="646313" y="1258095"/>
            <a:ext cx="11504061" cy="393724"/>
          </a:xfrm>
        </p:spPr>
        <p:txBody>
          <a:bodyPr>
            <a:normAutofit/>
          </a:bodyPr>
          <a:lstStyle/>
          <a:p>
            <a:r>
              <a:rPr lang="en-US" sz="2800" dirty="0" smtClean="0"/>
              <a:t>Super Bowl LV Predictions</a:t>
            </a:r>
            <a:endParaRPr lang="en-US" sz="2800" dirty="0"/>
          </a:p>
        </p:txBody>
      </p:sp>
      <p:sp>
        <p:nvSpPr>
          <p:cNvPr id="5" name="Rectangle 4"/>
          <p:cNvSpPr/>
          <p:nvPr/>
        </p:nvSpPr>
        <p:spPr>
          <a:xfrm>
            <a:off x="11950700" y="6679346"/>
            <a:ext cx="1600200" cy="836726"/>
          </a:xfrm>
          <a:prstGeom prst="rect">
            <a:avLst/>
          </a:prstGeom>
          <a:solidFill>
            <a:srgbClr val="E7EE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74" name="Picture 2" descr="Super Bowl LV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0081" y="391122"/>
            <a:ext cx="1588209" cy="1260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7569302" y="3222324"/>
            <a:ext cx="473746" cy="132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rgbClr val="003263"/>
                </a:solidFill>
              </a:rPr>
              <a:t>North</a:t>
            </a:r>
            <a:endParaRPr lang="en-US" sz="1400" b="1" dirty="0">
              <a:solidFill>
                <a:srgbClr val="003263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569302" y="3690412"/>
            <a:ext cx="473746" cy="132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rgbClr val="003263"/>
                </a:solidFill>
              </a:rPr>
              <a:t>South</a:t>
            </a:r>
            <a:endParaRPr lang="en-US" sz="1400" b="1" dirty="0">
              <a:solidFill>
                <a:srgbClr val="003263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569302" y="4158501"/>
            <a:ext cx="473746" cy="132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rgbClr val="003263"/>
                </a:solidFill>
              </a:rPr>
              <a:t>West</a:t>
            </a:r>
            <a:endParaRPr lang="en-US" sz="1400" b="1" dirty="0">
              <a:solidFill>
                <a:srgbClr val="003263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569302" y="2787523"/>
            <a:ext cx="473746" cy="1322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rgbClr val="003263"/>
                </a:solidFill>
              </a:rPr>
              <a:t>East</a:t>
            </a:r>
            <a:endParaRPr lang="en-US" sz="1400" b="1" dirty="0">
              <a:solidFill>
                <a:srgbClr val="003263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6025" y="1998464"/>
            <a:ext cx="3976321" cy="2448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107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53123-EF31-4C08-A865-932FC064F9C8}" type="slidenum">
              <a:rPr lang="en-CA" smtClean="0"/>
              <a:t>2</a:t>
            </a:fld>
            <a:endParaRPr lang="en-CA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33248" y="453081"/>
            <a:ext cx="12549721" cy="452250"/>
          </a:xfrm>
          <a:ln>
            <a:solidFill>
              <a:schemeClr val="bg1">
                <a:lumMod val="75000"/>
              </a:schemeClr>
            </a:solidFill>
          </a:ln>
        </p:spPr>
        <p:txBody>
          <a:bodyPr>
            <a:normAutofit/>
          </a:bodyPr>
          <a:lstStyle/>
          <a:p>
            <a:r>
              <a:rPr lang="en-US" dirty="0" smtClean="0"/>
              <a:t>What Makes a Winning Team? </a:t>
            </a:r>
            <a:endParaRPr lang="en-US" dirty="0"/>
          </a:p>
        </p:txBody>
      </p:sp>
      <p:sp>
        <p:nvSpPr>
          <p:cNvPr id="30" name="Rectangle 29"/>
          <p:cNvSpPr/>
          <p:nvPr/>
        </p:nvSpPr>
        <p:spPr>
          <a:xfrm>
            <a:off x="633247" y="1501352"/>
            <a:ext cx="3898995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034">
              <a:buSzPct val="80000"/>
              <a:defRPr/>
            </a:pPr>
            <a:r>
              <a:rPr lang="en-US" sz="800" b="1" dirty="0" smtClean="0">
                <a:solidFill>
                  <a:srgbClr val="003263"/>
                </a:solidFill>
              </a:rPr>
              <a:t>Project Description</a:t>
            </a:r>
          </a:p>
          <a:p>
            <a:pPr defTabSz="914034">
              <a:buSzPct val="80000"/>
              <a:defRPr/>
            </a:pPr>
            <a:endParaRPr lang="en-US" sz="400" b="1" dirty="0" smtClean="0">
              <a:solidFill>
                <a:srgbClr val="003263"/>
              </a:solidFill>
            </a:endParaRP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/>
              <a:t>The purpose of this project is to predict the outcome of the 2020 NFL Super Bowl LV winning team using historical regular season team offense and defense statistics. This is a Binary Classification problem as the result of the Super Bowl has two outcomes, win or lose. The goal is to create </a:t>
            </a:r>
            <a:r>
              <a:rPr lang="en-US" sz="800" dirty="0" smtClean="0"/>
              <a:t>a linear regression </a:t>
            </a:r>
            <a:r>
              <a:rPr lang="en-US" sz="800" dirty="0"/>
              <a:t>machine learning model that most accurately predicts the winner. </a:t>
            </a:r>
          </a:p>
          <a:p>
            <a:pPr defTabSz="914034">
              <a:buSzPct val="80000"/>
              <a:defRPr/>
            </a:pPr>
            <a:endParaRPr lang="en-US" sz="800" dirty="0" smtClean="0"/>
          </a:p>
          <a:p>
            <a:pPr defTabSz="914034">
              <a:buSzPct val="80000"/>
              <a:defRPr/>
            </a:pPr>
            <a:r>
              <a:rPr lang="en-US" sz="800" b="1" dirty="0" smtClean="0">
                <a:solidFill>
                  <a:srgbClr val="003263"/>
                </a:solidFill>
              </a:rPr>
              <a:t>Data Collection &amp; Assembly</a:t>
            </a:r>
            <a:endParaRPr lang="en-US" sz="800" b="1" dirty="0">
              <a:solidFill>
                <a:srgbClr val="003263"/>
              </a:solidFill>
            </a:endParaRPr>
          </a:p>
          <a:p>
            <a:pPr defTabSz="914034">
              <a:buSzPct val="80000"/>
              <a:defRPr/>
            </a:pPr>
            <a:endParaRPr lang="en-US" sz="400" b="1" dirty="0">
              <a:solidFill>
                <a:srgbClr val="003263"/>
              </a:solidFill>
            </a:endParaRP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I used </a:t>
            </a:r>
            <a:r>
              <a:rPr lang="en-US" sz="800" dirty="0"/>
              <a:t>several approaches to creating input data and combined the features I found most useful. This data was sourced from </a:t>
            </a:r>
            <a:r>
              <a:rPr lang="en-US" sz="800" dirty="0">
                <a:hlinkClick r:id="rId3"/>
              </a:rPr>
              <a:t>http://www.pro-football-reference.com</a:t>
            </a:r>
            <a:r>
              <a:rPr lang="en-US" sz="800" dirty="0" smtClean="0">
                <a:hlinkClick r:id="rId3"/>
              </a:rPr>
              <a:t>/</a:t>
            </a:r>
            <a:r>
              <a:rPr lang="en-US" sz="800" dirty="0" smtClean="0"/>
              <a:t>. </a:t>
            </a:r>
          </a:p>
          <a:p>
            <a:pPr defTabSz="914034">
              <a:buSzPct val="80000"/>
              <a:defRPr/>
            </a:pPr>
            <a:endParaRPr lang="en-US" sz="400" dirty="0" smtClean="0"/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This is a plain batch dataset complied of 10 regular seasons of Offense, Defense and Super Bowl historical statistics. These csv files were stitched and merged as part of the initial data preprocessing. </a:t>
            </a:r>
            <a:r>
              <a:rPr lang="en-US" sz="800" dirty="0" smtClean="0">
                <a:cs typeface="Arial" panose="020B0604020202020204" pitchFamily="34" charset="0"/>
              </a:rPr>
              <a:t>This </a:t>
            </a:r>
            <a:r>
              <a:rPr lang="en-US" sz="800" dirty="0">
                <a:cs typeface="Arial" panose="020B0604020202020204" pitchFamily="34" charset="0"/>
              </a:rPr>
              <a:t>dataset contains 11,616 observations and 29 </a:t>
            </a:r>
            <a:r>
              <a:rPr lang="en-US" sz="800" dirty="0" smtClean="0">
                <a:cs typeface="Arial" panose="020B0604020202020204" pitchFamily="34" charset="0"/>
              </a:rPr>
              <a:t>features</a:t>
            </a:r>
            <a:r>
              <a:rPr lang="en-US" sz="800" b="1" dirty="0" smtClean="0">
                <a:solidFill>
                  <a:srgbClr val="003263"/>
                </a:solidFill>
                <a:cs typeface="Arial" panose="020B0604020202020204" pitchFamily="34" charset="0"/>
              </a:rPr>
              <a:t>. </a:t>
            </a: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endParaRPr lang="en-US" sz="400" b="1" dirty="0" smtClean="0">
              <a:solidFill>
                <a:srgbClr val="003263"/>
              </a:solidFill>
              <a:cs typeface="Arial" panose="020B0604020202020204" pitchFamily="34" charset="0"/>
            </a:endParaRP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The dataset </a:t>
            </a:r>
            <a:r>
              <a:rPr lang="en-US" sz="800" dirty="0"/>
              <a:t>had </a:t>
            </a:r>
            <a:r>
              <a:rPr lang="en-US" sz="800" dirty="0" smtClean="0"/>
              <a:t>no odd or missing values resulting in zero data being dropped. Were applicable team names were aligned due to franchise rebranding. </a:t>
            </a: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endParaRPr lang="en-US" sz="400" dirty="0" smtClean="0"/>
          </a:p>
          <a:p>
            <a:pPr marL="680862" lvl="1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Oakland Raiders &gt; Las Vegas Raiders</a:t>
            </a:r>
          </a:p>
          <a:p>
            <a:pPr marL="680862" lvl="1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San Diego Chargers &gt; Los Angeles Chargers</a:t>
            </a:r>
          </a:p>
          <a:p>
            <a:pPr marL="680862" lvl="1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Washington Redskins &gt; Washington Football Team</a:t>
            </a:r>
          </a:p>
          <a:p>
            <a:pPr marL="680862" lvl="1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St. Louis Rams &gt; Los Angeles Rams</a:t>
            </a: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endParaRPr lang="en-US" sz="400" dirty="0"/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3 </a:t>
            </a:r>
            <a:r>
              <a:rPr lang="en-US" sz="800" dirty="0"/>
              <a:t>primary files: NFL Historical Statistics – Offense; NFL Historical Statistics – Defense; NFL Historical Statistics – Super Bowl </a:t>
            </a:r>
            <a:r>
              <a:rPr lang="en-US" sz="800" dirty="0" smtClean="0"/>
              <a:t>Winners</a:t>
            </a:r>
            <a:endParaRPr lang="en-US" sz="800" dirty="0"/>
          </a:p>
          <a:p>
            <a:pPr defTabSz="914034">
              <a:buSzPct val="80000"/>
              <a:defRPr/>
            </a:pPr>
            <a:endParaRPr lang="en-US" sz="800" dirty="0" smtClean="0"/>
          </a:p>
          <a:p>
            <a:pPr defTabSz="914034">
              <a:buSzPct val="80000"/>
              <a:defRPr/>
            </a:pPr>
            <a:r>
              <a:rPr lang="en-US" sz="800" b="1" dirty="0" smtClean="0">
                <a:solidFill>
                  <a:srgbClr val="003263"/>
                </a:solidFill>
              </a:rPr>
              <a:t>Model &amp; Parameter Tuning </a:t>
            </a:r>
            <a:endParaRPr lang="en-US" sz="800" b="1" dirty="0">
              <a:solidFill>
                <a:srgbClr val="003263"/>
              </a:solidFill>
            </a:endParaRPr>
          </a:p>
          <a:p>
            <a:pPr defTabSz="914034">
              <a:buSzPct val="80000"/>
              <a:defRPr/>
            </a:pPr>
            <a:endParaRPr lang="en-US" sz="400" b="1" dirty="0">
              <a:solidFill>
                <a:srgbClr val="003263"/>
              </a:solidFill>
            </a:endParaRP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For the model, I used Sklearn to create a Logistic Regression. </a:t>
            </a: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endParaRPr lang="en-US" sz="400" dirty="0" smtClean="0"/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To reduce multicollinearity </a:t>
            </a:r>
            <a:r>
              <a:rPr lang="en-US" sz="800" dirty="0"/>
              <a:t>between </a:t>
            </a:r>
            <a:r>
              <a:rPr lang="en-US" sz="800" dirty="0" smtClean="0"/>
              <a:t>features, I applied Principal Component Analysis (PCA) (n_component = 3).</a:t>
            </a:r>
          </a:p>
          <a:p>
            <a:pPr defTabSz="914034">
              <a:buSzPct val="80000"/>
              <a:defRPr/>
            </a:pPr>
            <a:endParaRPr lang="en-US" sz="400" dirty="0" smtClean="0"/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To account for data imbalance, I derived a ROC curve to identify the optimal threshold. (Best Threshold = 0.016919; G –Mean = 0.856)</a:t>
            </a: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endParaRPr lang="en-US" sz="400" dirty="0"/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To further tune, I ran a GridSearchCV to get the optimal model parameters. </a:t>
            </a:r>
          </a:p>
          <a:p>
            <a:pPr defTabSz="914034">
              <a:buSzPct val="80000"/>
              <a:defRPr/>
            </a:pPr>
            <a:endParaRPr lang="en-US" sz="800" b="1" dirty="0" smtClean="0">
              <a:solidFill>
                <a:srgbClr val="003263"/>
              </a:solidFill>
            </a:endParaRPr>
          </a:p>
          <a:p>
            <a:pPr defTabSz="914034">
              <a:buSzPct val="80000"/>
              <a:defRPr/>
            </a:pPr>
            <a:r>
              <a:rPr lang="en-US" sz="800" b="1" dirty="0" smtClean="0">
                <a:solidFill>
                  <a:srgbClr val="003263"/>
                </a:solidFill>
              </a:rPr>
              <a:t>Performance </a:t>
            </a:r>
            <a:r>
              <a:rPr lang="en-US" sz="800" b="1" dirty="0">
                <a:solidFill>
                  <a:srgbClr val="003263"/>
                </a:solidFill>
              </a:rPr>
              <a:t>Measure</a:t>
            </a:r>
          </a:p>
          <a:p>
            <a:pPr defTabSz="914034">
              <a:buSzPct val="80000"/>
              <a:defRPr/>
            </a:pPr>
            <a:endParaRPr lang="en-US" sz="400" dirty="0" smtClean="0"/>
          </a:p>
          <a:p>
            <a:pPr marL="34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Baseline Accuracy: 98%</a:t>
            </a:r>
          </a:p>
          <a:p>
            <a:pPr marL="34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>
                <a:cs typeface="Arial" panose="020B0604020202020204" pitchFamily="34" charset="0"/>
              </a:rPr>
              <a:t>Model Testing Accuracy: 97% (less than Baseline)</a:t>
            </a:r>
          </a:p>
        </p:txBody>
      </p:sp>
      <p:graphicFrame>
        <p:nvGraphicFramePr>
          <p:cNvPr id="42" name="Group 1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6245221"/>
              </p:ext>
            </p:extLst>
          </p:nvPr>
        </p:nvGraphicFramePr>
        <p:xfrm>
          <a:off x="4846428" y="1480456"/>
          <a:ext cx="4114800" cy="2370231"/>
        </p:xfrm>
        <a:graphic>
          <a:graphicData uri="http://schemas.openxmlformats.org/drawingml/2006/table">
            <a:tbl>
              <a:tblPr/>
              <a:tblGrid>
                <a:gridCol w="685800"/>
                <a:gridCol w="685800"/>
                <a:gridCol w="685800"/>
                <a:gridCol w="685800"/>
                <a:gridCol w="685800"/>
                <a:gridCol w="685800"/>
              </a:tblGrid>
              <a:tr h="117487">
                <a:tc gridSpan="6">
                  <a:txBody>
                    <a:bodyPr/>
                    <a:lstStyle>
                      <a:lvl1pPr marL="0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54040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108077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62118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216156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70195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324234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78273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432312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25525" rtl="0" eaLnBrk="0" fontAlgn="base" latinLnBrk="0" hangingPunct="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326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 Ten Super Bowl LV Predictions using Logistic Regression Model</a:t>
                      </a:r>
                    </a:p>
                  </a:txBody>
                  <a:tcPr marL="32273" marR="32273" marT="32273" marB="32273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7A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025525" rtl="0" eaLnBrk="0" fontAlgn="base" latinLnBrk="0" hangingPunct="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326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2273" marR="32273" marT="32273" marB="32273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rgbClr val="ADC2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025525" rtl="0" eaLnBrk="0" fontAlgn="base" latinLnBrk="0" hangingPunct="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326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273" marR="32273" marT="32273" marB="32273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7AFBF"/>
                    </a:solidFill>
                  </a:tcPr>
                </a:tc>
              </a:tr>
              <a:tr h="182880">
                <a:tc>
                  <a:txBody>
                    <a:bodyPr/>
                    <a:lstStyle>
                      <a:lvl1pPr marL="0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554040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1108077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662118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2216156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770195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3324234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878273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4432312" algn="l" defTabSz="1108077" rtl="0" eaLnBrk="1" latinLnBrk="0" hangingPunct="1">
                        <a:defRPr sz="218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25525" rtl="0" eaLnBrk="0" fontAlgn="base" latinLnBrk="0" hangingPunct="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326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rediction</a:t>
                      </a:r>
                    </a:p>
                  </a:txBody>
                  <a:tcPr marL="32273" marR="32273" marT="32273" marB="32273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5525" rtl="0" eaLnBrk="0" fontAlgn="base" latinLnBrk="0" hangingPunct="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326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ivision</a:t>
                      </a:r>
                    </a:p>
                  </a:txBody>
                  <a:tcPr marL="32273" marR="32273" marT="32273" marB="32273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5525" rtl="0" eaLnBrk="0" fontAlgn="base" latinLnBrk="0" hangingPunct="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326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Team</a:t>
                      </a:r>
                    </a:p>
                  </a:txBody>
                  <a:tcPr marL="32273" marR="32273" marT="32273" marB="32273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5525" rtl="0" eaLnBrk="0" fontAlgn="base" latinLnBrk="0" hangingPunct="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326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Offense Rank</a:t>
                      </a:r>
                    </a:p>
                  </a:txBody>
                  <a:tcPr marL="32273" marR="32273" marT="32273" marB="32273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5525" rtl="0" eaLnBrk="0" fontAlgn="base" latinLnBrk="0" hangingPunct="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326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efense Rank</a:t>
                      </a:r>
                    </a:p>
                  </a:txBody>
                  <a:tcPr marL="32273" marR="32273" marT="32273" marB="32273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5525" rtl="0" eaLnBrk="0" fontAlgn="base" latinLnBrk="0" hangingPunct="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ct val="0"/>
                        </a:spcAft>
                        <a:buClr>
                          <a:srgbClr val="003263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rediction (%)</a:t>
                      </a:r>
                    </a:p>
                  </a:txBody>
                  <a:tcPr marL="32273" marR="32273" marT="32273" marB="32273" anchor="ctr" horzOverflow="overflow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5940"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 smtClean="0"/>
                        <a:t>1</a:t>
                      </a:r>
                      <a:endParaRPr lang="en-US" sz="700" b="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FC South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ccaneer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3263"/>
                          </a:solidFill>
                          <a:effectLst/>
                          <a:latin typeface="Arial" panose="020B0604020202020204" pitchFamily="34" charset="0"/>
                        </a:rPr>
                        <a:t>0.234</a:t>
                      </a:r>
                      <a:endParaRPr lang="en-US" sz="700" b="1" i="0" u="none" strike="noStrike" dirty="0">
                        <a:solidFill>
                          <a:srgbClr val="00326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1"/>
                    </a:solidFill>
                  </a:tcPr>
                </a:tc>
              </a:tr>
              <a:tr h="135940"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 smtClean="0"/>
                        <a:t>2</a:t>
                      </a:r>
                      <a:endParaRPr lang="en-US" sz="700" b="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FC North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eler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3263"/>
                          </a:solidFill>
                          <a:effectLst/>
                          <a:latin typeface="Arial" panose="020B0604020202020204" pitchFamily="34" charset="0"/>
                        </a:rPr>
                        <a:t>0.072</a:t>
                      </a:r>
                      <a:endParaRPr lang="en-US" sz="700" b="1" i="0" u="none" strike="noStrike" dirty="0">
                        <a:solidFill>
                          <a:srgbClr val="00326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1"/>
                    </a:solidFill>
                  </a:tcPr>
                </a:tc>
              </a:tr>
              <a:tr h="135940"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 smtClean="0"/>
                        <a:t>3</a:t>
                      </a:r>
                      <a:endParaRPr lang="en-US" sz="700" b="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FC Wes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m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3263"/>
                          </a:solidFill>
                          <a:effectLst/>
                          <a:latin typeface="Arial" panose="020B0604020202020204" pitchFamily="34" charset="0"/>
                        </a:rPr>
                        <a:t>0.042</a:t>
                      </a:r>
                      <a:endParaRPr lang="en-US" sz="700" b="1" i="0" u="none" strike="noStrike" dirty="0">
                        <a:solidFill>
                          <a:srgbClr val="00326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1"/>
                    </a:solidFill>
                  </a:tcPr>
                </a:tc>
              </a:tr>
              <a:tr h="135940"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 smtClean="0"/>
                        <a:t>4</a:t>
                      </a:r>
                      <a:endParaRPr lang="en-US" sz="700" b="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FC South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int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3263"/>
                          </a:solidFill>
                          <a:effectLst/>
                          <a:latin typeface="Arial" panose="020B0604020202020204" pitchFamily="34" charset="0"/>
                        </a:rPr>
                        <a:t>0.039</a:t>
                      </a:r>
                      <a:endParaRPr lang="en-US" sz="700" b="1" i="0" u="none" strike="noStrike" dirty="0">
                        <a:solidFill>
                          <a:srgbClr val="00326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1"/>
                    </a:solidFill>
                  </a:tcPr>
                </a:tc>
              </a:tr>
              <a:tr h="135940"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 smtClean="0"/>
                        <a:t>5</a:t>
                      </a:r>
                      <a:endParaRPr lang="en-US" sz="700" b="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FC South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lt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3263"/>
                          </a:solidFill>
                          <a:effectLst/>
                          <a:latin typeface="Arial" panose="020B0604020202020204" pitchFamily="34" charset="0"/>
                        </a:rPr>
                        <a:t>0.036</a:t>
                      </a:r>
                      <a:endParaRPr lang="en-US" sz="700" b="1" i="0" u="none" strike="noStrike" dirty="0">
                        <a:solidFill>
                          <a:srgbClr val="00326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1"/>
                    </a:solidFill>
                  </a:tcPr>
                </a:tc>
              </a:tr>
              <a:tr h="135940"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 smtClean="0"/>
                        <a:t>6</a:t>
                      </a:r>
                      <a:endParaRPr lang="en-US" sz="700" b="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FC Wes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ief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3263"/>
                          </a:solidFill>
                          <a:effectLst/>
                          <a:latin typeface="Arial" panose="020B0604020202020204" pitchFamily="34" charset="0"/>
                        </a:rPr>
                        <a:t>0.026</a:t>
                      </a:r>
                      <a:endParaRPr lang="en-US" sz="700" b="1" i="0" u="none" strike="noStrike" dirty="0">
                        <a:solidFill>
                          <a:srgbClr val="00326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1"/>
                    </a:solidFill>
                  </a:tcPr>
                </a:tc>
              </a:tr>
              <a:tr h="135940"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 smtClean="0"/>
                        <a:t>7</a:t>
                      </a:r>
                      <a:endParaRPr lang="en-US" sz="700" b="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FC Eas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ll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3263"/>
                          </a:solidFill>
                          <a:effectLst/>
                          <a:latin typeface="Arial" panose="020B0604020202020204" pitchFamily="34" charset="0"/>
                        </a:rPr>
                        <a:t>0.020</a:t>
                      </a:r>
                      <a:endParaRPr lang="en-US" sz="700" b="1" i="0" u="none" strike="noStrike" dirty="0">
                        <a:solidFill>
                          <a:srgbClr val="00326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1"/>
                    </a:solidFill>
                  </a:tcPr>
                </a:tc>
              </a:tr>
              <a:tr h="135940"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 smtClean="0"/>
                        <a:t>8</a:t>
                      </a:r>
                      <a:endParaRPr lang="en-US" sz="700" b="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FC Wes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ahawk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3263"/>
                          </a:solidFill>
                          <a:effectLst/>
                          <a:latin typeface="Arial" panose="020B0604020202020204" pitchFamily="34" charset="0"/>
                        </a:rPr>
                        <a:t>0.018</a:t>
                      </a:r>
                      <a:endParaRPr lang="en-US" sz="700" b="1" i="0" u="none" strike="noStrike" dirty="0">
                        <a:solidFill>
                          <a:srgbClr val="00326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1"/>
                    </a:solidFill>
                  </a:tcPr>
                </a:tc>
              </a:tr>
              <a:tr h="135940"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 smtClean="0"/>
                        <a:t>9</a:t>
                      </a:r>
                      <a:endParaRPr lang="en-US" sz="700" b="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FC North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cker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3263"/>
                          </a:solidFill>
                          <a:effectLst/>
                          <a:latin typeface="Arial" panose="020B0604020202020204" pitchFamily="34" charset="0"/>
                        </a:rPr>
                        <a:t>0.016</a:t>
                      </a:r>
                      <a:endParaRPr lang="en-US" sz="700" b="1" i="0" u="none" strike="noStrike" dirty="0">
                        <a:solidFill>
                          <a:srgbClr val="00326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1"/>
                    </a:solidFill>
                  </a:tcPr>
                </a:tc>
              </a:tr>
              <a:tr h="135940"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 smtClean="0"/>
                        <a:t>10</a:t>
                      </a:r>
                      <a:endParaRPr lang="en-US" sz="700" b="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FC North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ven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 smtClean="0">
                          <a:solidFill>
                            <a:srgbClr val="003263"/>
                          </a:solidFill>
                          <a:effectLst/>
                          <a:latin typeface="Arial" panose="020B0604020202020204" pitchFamily="34" charset="0"/>
                        </a:rPr>
                        <a:t>0.011</a:t>
                      </a:r>
                      <a:endParaRPr lang="en-US" sz="700" b="1" i="0" u="none" strike="noStrike" dirty="0">
                        <a:solidFill>
                          <a:srgbClr val="00326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1"/>
                    </a:solidFill>
                  </a:tcPr>
                </a:tc>
              </a:tr>
              <a:tr h="0">
                <a:tc gridSpan="6">
                  <a:txBody>
                    <a:bodyPr/>
                    <a:lstStyle/>
                    <a:p>
                      <a:pPr marL="0" algn="ctr" defTabSz="685937" rtl="0" eaLnBrk="1" fontAlgn="ctr" latinLnBrk="0" hangingPunct="1"/>
                      <a:endParaRPr kumimoji="0" lang="en-US" sz="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650" b="1" i="0" u="none" strike="noStrike" dirty="0">
                        <a:solidFill>
                          <a:srgbClr val="00326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650" b="1" i="0" u="none" strike="noStrike" dirty="0">
                        <a:solidFill>
                          <a:srgbClr val="00326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650" b="1" i="0" u="none" strike="noStrike" dirty="0">
                        <a:solidFill>
                          <a:srgbClr val="00326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6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3" name="Rectangle 42"/>
          <p:cNvSpPr/>
          <p:nvPr/>
        </p:nvSpPr>
        <p:spPr>
          <a:xfrm>
            <a:off x="4846427" y="3946569"/>
            <a:ext cx="4114801" cy="33393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034">
              <a:buSzPct val="80000"/>
              <a:defRPr/>
            </a:pPr>
            <a:r>
              <a:rPr lang="en-US" sz="800" b="1" dirty="0" smtClean="0">
                <a:solidFill>
                  <a:srgbClr val="003263"/>
                </a:solidFill>
              </a:rPr>
              <a:t>Results &amp; Observations</a:t>
            </a:r>
          </a:p>
          <a:p>
            <a:pPr defTabSz="914034">
              <a:buSzPct val="80000"/>
              <a:defRPr/>
            </a:pPr>
            <a:endParaRPr lang="en-US" sz="400" b="1" dirty="0" smtClean="0">
              <a:solidFill>
                <a:srgbClr val="003263"/>
              </a:solidFill>
            </a:endParaRP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b="1" dirty="0" smtClean="0"/>
              <a:t>With a 23% accuracy, the model correctly predicted the Tampa Bay Buccaneers to win Super Bowl LV!  </a:t>
            </a: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endParaRPr lang="en-US" sz="700" b="1" dirty="0" smtClean="0"/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The majority of the ranked teams have a top ten offense. (8 out of 10)</a:t>
            </a: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Of the two ranked teams without a top ten offense, both have a top five defense (Steelers: #3; Rams: #1)</a:t>
            </a: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/>
              <a:t>The model predicted one or more teams in 7 of the 8 NFL Divisions in the top ten. </a:t>
            </a:r>
          </a:p>
          <a:p>
            <a:pPr marL="680862" lvl="1" indent="-171450" defTabSz="822960">
              <a:buSzPct val="80000"/>
              <a:buFont typeface="Wingdings" panose="05000000000000000000" pitchFamily="2" charset="2"/>
              <a:buChar char="§"/>
              <a:tabLst>
                <a:tab pos="91440" algn="l"/>
              </a:tabLst>
              <a:defRPr/>
            </a:pPr>
            <a:r>
              <a:rPr lang="en-US" sz="800" dirty="0" smtClean="0"/>
              <a:t>NFC East was the only NFL Division with teams not ranked in the top ten (No surprise as this is a historically bad set of teams) </a:t>
            </a:r>
            <a:endParaRPr lang="en-US" sz="800" dirty="0"/>
          </a:p>
          <a:p>
            <a:pPr marL="680862" lvl="1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/>
              <a:t>The Divisions with 2 teams ranked in the top ten are historically competitive teams. (Ex: AFC North –Steelers and Ravens typically compete for Division Titles</a:t>
            </a:r>
            <a:r>
              <a:rPr lang="en-US" sz="800" dirty="0" smtClean="0"/>
              <a:t>)</a:t>
            </a:r>
          </a:p>
          <a:p>
            <a:pPr defTabSz="914034">
              <a:buSzPct val="80000"/>
              <a:defRPr/>
            </a:pPr>
            <a:endParaRPr lang="en-US" sz="600" b="1" dirty="0" smtClean="0">
              <a:solidFill>
                <a:srgbClr val="003263"/>
              </a:solidFill>
            </a:endParaRPr>
          </a:p>
          <a:p>
            <a:pPr defTabSz="914034">
              <a:buSzPct val="80000"/>
              <a:defRPr/>
            </a:pPr>
            <a:r>
              <a:rPr lang="en-US" sz="800" b="1" dirty="0" smtClean="0">
                <a:solidFill>
                  <a:srgbClr val="003263"/>
                </a:solidFill>
              </a:rPr>
              <a:t>Further Model Development </a:t>
            </a:r>
            <a:endParaRPr lang="en-US" sz="800" b="1" dirty="0">
              <a:solidFill>
                <a:srgbClr val="003263"/>
              </a:solidFill>
            </a:endParaRPr>
          </a:p>
          <a:p>
            <a:pPr defTabSz="914034">
              <a:buSzPct val="80000"/>
              <a:defRPr/>
            </a:pPr>
            <a:endParaRPr lang="en-US" sz="400" b="1" dirty="0">
              <a:solidFill>
                <a:srgbClr val="003263"/>
              </a:solidFill>
            </a:endParaRP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Machine learning for sports predictions is not a basic classification problem. </a:t>
            </a: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Further project scope includes: </a:t>
            </a:r>
          </a:p>
          <a:p>
            <a:pPr marL="680862" lvl="1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/>
              <a:t>Team head-to-head, individual player statistics </a:t>
            </a:r>
          </a:p>
          <a:p>
            <a:pPr marL="680862" lvl="1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>
                <a:cs typeface="Arial" panose="020B0604020202020204" pitchFamily="34" charset="0"/>
              </a:rPr>
              <a:t>Weather, Home/Away Analysis</a:t>
            </a:r>
          </a:p>
          <a:p>
            <a:pPr marL="680862" lvl="1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dirty="0" smtClean="0">
                <a:cs typeface="Arial" panose="020B0604020202020204" pitchFamily="34" charset="0"/>
              </a:rPr>
              <a:t>Classification Neural Network</a:t>
            </a:r>
          </a:p>
          <a:p>
            <a:pPr lvl="1" defTabSz="914034">
              <a:buSzPct val="80000"/>
              <a:defRPr/>
            </a:pPr>
            <a:endParaRPr lang="en-US" sz="600" dirty="0">
              <a:cs typeface="Arial" panose="020B0604020202020204" pitchFamily="34" charset="0"/>
            </a:endParaRPr>
          </a:p>
          <a:p>
            <a:pPr defTabSz="914034">
              <a:buSzPct val="80000"/>
              <a:defRPr/>
            </a:pPr>
            <a:r>
              <a:rPr lang="en-US" sz="800" b="1" dirty="0" smtClean="0">
                <a:solidFill>
                  <a:srgbClr val="003263"/>
                </a:solidFill>
              </a:rPr>
              <a:t>Recommendation</a:t>
            </a:r>
            <a:endParaRPr lang="en-US" sz="800" b="1" dirty="0">
              <a:solidFill>
                <a:srgbClr val="003263"/>
              </a:solidFill>
            </a:endParaRPr>
          </a:p>
          <a:p>
            <a:pPr defTabSz="914034">
              <a:buSzPct val="80000"/>
              <a:defRPr/>
            </a:pPr>
            <a:endParaRPr lang="en-US" sz="400" b="1" dirty="0">
              <a:solidFill>
                <a:srgbClr val="003263"/>
              </a:solidFill>
            </a:endParaRPr>
          </a:p>
          <a:p>
            <a:pPr marL="171450" indent="-171450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800" b="1" dirty="0" smtClean="0"/>
              <a:t>Sports Gambling Disclaimer</a:t>
            </a:r>
            <a:r>
              <a:rPr lang="en-US" sz="800" dirty="0" smtClean="0"/>
              <a:t>: </a:t>
            </a:r>
            <a:r>
              <a:rPr lang="en-US" sz="800" i="1" dirty="0" smtClean="0"/>
              <a:t>Although the model results in this report should be viewed as reliable, I do not guarantee their accuracy. This model is not meant to be used, </a:t>
            </a:r>
            <a:r>
              <a:rPr lang="en-US" sz="800" b="1" i="1" dirty="0" smtClean="0"/>
              <a:t>NOR SHOULD BE USED</a:t>
            </a:r>
            <a:r>
              <a:rPr lang="en-US" sz="800" i="1" dirty="0" smtClean="0"/>
              <a:t>, as the basis of any sports gambling. </a:t>
            </a:r>
            <a:endParaRPr lang="en-US" sz="700" i="1" dirty="0"/>
          </a:p>
        </p:txBody>
      </p:sp>
      <p:sp>
        <p:nvSpPr>
          <p:cNvPr id="53" name="Rectangle 52"/>
          <p:cNvSpPr/>
          <p:nvPr/>
        </p:nvSpPr>
        <p:spPr>
          <a:xfrm>
            <a:off x="9373518" y="1153743"/>
            <a:ext cx="380384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034">
              <a:buSzPct val="80000"/>
              <a:defRPr/>
            </a:pPr>
            <a:r>
              <a:rPr lang="en-US" sz="900" b="1" dirty="0" smtClean="0">
                <a:solidFill>
                  <a:srgbClr val="003263"/>
                </a:solidFill>
                <a:cs typeface="Arial" panose="020B0604020202020204" pitchFamily="34" charset="0"/>
              </a:rPr>
              <a:t>Insightful Features </a:t>
            </a:r>
            <a:endParaRPr lang="en-US" sz="900" b="1" dirty="0">
              <a:solidFill>
                <a:srgbClr val="003263"/>
              </a:solidFill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9419381" y="3931857"/>
            <a:ext cx="380883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71416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750" dirty="0" smtClean="0"/>
              <a:t>SB Winners were above the League average in penalties (5 of 11 yrs.)</a:t>
            </a:r>
          </a:p>
          <a:p>
            <a:pPr indent="-171416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750" dirty="0" smtClean="0"/>
              <a:t>Low correlation between number of Offense penalties and the SB Winner</a:t>
            </a:r>
            <a:endParaRPr lang="en-US" sz="750" dirty="0" smtClean="0">
              <a:cs typeface="Arial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9323587" y="3735379"/>
            <a:ext cx="111087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034">
              <a:buSzPct val="80000"/>
              <a:defRPr/>
            </a:pPr>
            <a:r>
              <a:rPr lang="en-US" sz="800" b="1" dirty="0">
                <a:solidFill>
                  <a:srgbClr val="003263"/>
                </a:solidFill>
                <a:cs typeface="Arial" panose="020B0604020202020204" pitchFamily="34" charset="0"/>
              </a:rPr>
              <a:t>Key </a:t>
            </a:r>
            <a:r>
              <a:rPr lang="en-US" sz="800" b="1" dirty="0" smtClean="0">
                <a:solidFill>
                  <a:srgbClr val="003263"/>
                </a:solidFill>
                <a:cs typeface="Arial" panose="020B0604020202020204" pitchFamily="34" charset="0"/>
              </a:rPr>
              <a:t>Takeaways</a:t>
            </a:r>
            <a:endParaRPr lang="en-US" sz="800" b="1" dirty="0">
              <a:solidFill>
                <a:srgbClr val="003263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63" name="Chart 6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9067741"/>
              </p:ext>
            </p:extLst>
          </p:nvPr>
        </p:nvGraphicFramePr>
        <p:xfrm>
          <a:off x="9413232" y="1480456"/>
          <a:ext cx="3764134" cy="2194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4" name="Chart 6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7674421"/>
              </p:ext>
            </p:extLst>
          </p:nvPr>
        </p:nvGraphicFramePr>
        <p:xfrm>
          <a:off x="9418222" y="4457143"/>
          <a:ext cx="3764134" cy="2194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0" name="Rectangle 69"/>
          <p:cNvSpPr/>
          <p:nvPr/>
        </p:nvSpPr>
        <p:spPr>
          <a:xfrm>
            <a:off x="9469312" y="6802305"/>
            <a:ext cx="3713044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71416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750" dirty="0"/>
              <a:t>SB Winners were above </a:t>
            </a:r>
            <a:r>
              <a:rPr lang="en-US" sz="750" dirty="0" smtClean="0"/>
              <a:t>the </a:t>
            </a:r>
            <a:r>
              <a:rPr lang="en-US" sz="750" dirty="0"/>
              <a:t>League average of penalties </a:t>
            </a:r>
            <a:r>
              <a:rPr lang="en-US" sz="750" dirty="0" smtClean="0"/>
              <a:t>(6 </a:t>
            </a:r>
            <a:r>
              <a:rPr lang="en-US" sz="750" dirty="0"/>
              <a:t>of 11 </a:t>
            </a:r>
            <a:r>
              <a:rPr lang="en-US" sz="750" dirty="0" smtClean="0"/>
              <a:t>yrs.)</a:t>
            </a:r>
            <a:endParaRPr lang="en-US" sz="750" dirty="0"/>
          </a:p>
          <a:p>
            <a:pPr indent="-171416" defTabSz="914034"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750" dirty="0" smtClean="0"/>
              <a:t>Low correlation between number of Defense penalties and the SB Winner</a:t>
            </a:r>
            <a:endParaRPr lang="en-US" sz="750" dirty="0" smtClean="0"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9373518" y="6605827"/>
            <a:ext cx="111087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034">
              <a:buSzPct val="80000"/>
              <a:defRPr/>
            </a:pPr>
            <a:r>
              <a:rPr lang="en-US" sz="800" b="1" dirty="0">
                <a:solidFill>
                  <a:srgbClr val="003263"/>
                </a:solidFill>
                <a:cs typeface="Arial" panose="020B0604020202020204" pitchFamily="34" charset="0"/>
              </a:rPr>
              <a:t>Key </a:t>
            </a:r>
            <a:r>
              <a:rPr lang="en-US" sz="800" b="1" dirty="0" smtClean="0">
                <a:solidFill>
                  <a:srgbClr val="003263"/>
                </a:solidFill>
                <a:cs typeface="Arial" panose="020B0604020202020204" pitchFamily="34" charset="0"/>
              </a:rPr>
              <a:t>Takeaways</a:t>
            </a:r>
            <a:endParaRPr lang="en-US" sz="800" b="1" dirty="0">
              <a:solidFill>
                <a:srgbClr val="003263"/>
              </a:solidFill>
              <a:cs typeface="Arial" panose="020B0604020202020204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4846427" y="1153743"/>
            <a:ext cx="411480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034">
              <a:buSzPct val="80000"/>
              <a:defRPr/>
            </a:pPr>
            <a:r>
              <a:rPr lang="en-US" sz="900" b="1" dirty="0" smtClean="0">
                <a:solidFill>
                  <a:srgbClr val="003263"/>
                </a:solidFill>
                <a:cs typeface="Arial" panose="020B0604020202020204" pitchFamily="34" charset="0"/>
              </a:rPr>
              <a:t>Model Results</a:t>
            </a:r>
            <a:endParaRPr lang="en-US" sz="900" b="1" dirty="0">
              <a:solidFill>
                <a:srgbClr val="003263"/>
              </a:solidFill>
              <a:cs typeface="Arial" panose="020B0604020202020204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633247" y="1153743"/>
            <a:ext cx="389899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034">
              <a:buSzPct val="80000"/>
              <a:defRPr/>
            </a:pPr>
            <a:r>
              <a:rPr lang="en-US" sz="900" b="1" dirty="0" smtClean="0">
                <a:solidFill>
                  <a:srgbClr val="003263"/>
                </a:solidFill>
                <a:cs typeface="Arial" panose="020B0604020202020204" pitchFamily="34" charset="0"/>
              </a:rPr>
              <a:t>Project Overview</a:t>
            </a:r>
            <a:endParaRPr lang="en-US" sz="900" b="1" dirty="0">
              <a:solidFill>
                <a:srgbClr val="003263"/>
              </a:solidFill>
              <a:cs typeface="Arial" panose="020B0604020202020204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 bwMode="auto">
          <a:xfrm flipH="1">
            <a:off x="4620945" y="1228017"/>
            <a:ext cx="241" cy="5942084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 bwMode="auto">
          <a:xfrm flipH="1">
            <a:off x="9189911" y="1228017"/>
            <a:ext cx="241" cy="5942084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4350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10.xml><?xml version="1.0" encoding="utf-8"?>
<a:theme xmlns:a="http://schemas.openxmlformats.org/drawingml/2006/main" name="7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11.xml><?xml version="1.0" encoding="utf-8"?>
<a:theme xmlns:a="http://schemas.openxmlformats.org/drawingml/2006/main" name="8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12.xml><?xml version="1.0" encoding="utf-8"?>
<a:theme xmlns:a="http://schemas.openxmlformats.org/drawingml/2006/main" name="9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13.xml><?xml version="1.0" encoding="utf-8"?>
<a:theme xmlns:a="http://schemas.openxmlformats.org/drawingml/2006/main" name="10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14.xml><?xml version="1.0" encoding="utf-8"?>
<a:theme xmlns:a="http://schemas.openxmlformats.org/drawingml/2006/main" name="11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15.xml><?xml version="1.0" encoding="utf-8"?>
<a:theme xmlns:a="http://schemas.openxmlformats.org/drawingml/2006/main" name="12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16.xml><?xml version="1.0" encoding="utf-8"?>
<a:theme xmlns:a="http://schemas.openxmlformats.org/drawingml/2006/main" name="13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17.xml><?xml version="1.0" encoding="utf-8"?>
<a:theme xmlns:a="http://schemas.openxmlformats.org/drawingml/2006/main" name="14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18.xml><?xml version="1.0" encoding="utf-8"?>
<a:theme xmlns:a="http://schemas.openxmlformats.org/drawingml/2006/main" name="15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19.xml><?xml version="1.0" encoding="utf-8"?>
<a:theme xmlns:a="http://schemas.openxmlformats.org/drawingml/2006/main" name="16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2.xml><?xml version="1.0" encoding="utf-8"?>
<a:theme xmlns:a="http://schemas.openxmlformats.org/drawingml/2006/main" name="1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20.xml><?xml version="1.0" encoding="utf-8"?>
<a:theme xmlns:a="http://schemas.openxmlformats.org/drawingml/2006/main" name="17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21.xml><?xml version="1.0" encoding="utf-8"?>
<a:theme xmlns:a="http://schemas.openxmlformats.org/drawingml/2006/main" name="18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22.xml><?xml version="1.0" encoding="utf-8"?>
<a:theme xmlns:a="http://schemas.openxmlformats.org/drawingml/2006/main" name="19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23.xml><?xml version="1.0" encoding="utf-8"?>
<a:theme xmlns:a="http://schemas.openxmlformats.org/drawingml/2006/main" name="20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24.xml><?xml version="1.0" encoding="utf-8"?>
<a:theme xmlns:a="http://schemas.openxmlformats.org/drawingml/2006/main" name="21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25.xml><?xml version="1.0" encoding="utf-8"?>
<a:theme xmlns:a="http://schemas.openxmlformats.org/drawingml/2006/main" name="Office Theme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Office Theme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4.xml><?xml version="1.0" encoding="utf-8"?>
<a:theme xmlns:a="http://schemas.openxmlformats.org/drawingml/2006/main" name="RBCCM_2014_Landscape">
  <a:themeElements>
    <a:clrScheme name="RBCCM_2014_Landscape 1">
      <a:dk1>
        <a:srgbClr val="000000"/>
      </a:dk1>
      <a:lt1>
        <a:srgbClr val="FFFFFF"/>
      </a:lt1>
      <a:dk2>
        <a:srgbClr val="003263"/>
      </a:dk2>
      <a:lt2>
        <a:srgbClr val="FFD200"/>
      </a:lt2>
      <a:accent1>
        <a:srgbClr val="0060A9"/>
      </a:accent1>
      <a:accent2>
        <a:srgbClr val="6AADE4"/>
      </a:accent2>
      <a:accent3>
        <a:srgbClr val="FFFFFF"/>
      </a:accent3>
      <a:accent4>
        <a:srgbClr val="000000"/>
      </a:accent4>
      <a:accent5>
        <a:srgbClr val="AAB6D1"/>
      </a:accent5>
      <a:accent6>
        <a:srgbClr val="5F9CCF"/>
      </a:accent6>
      <a:hlink>
        <a:srgbClr val="6F6E6F"/>
      </a:hlink>
      <a:folHlink>
        <a:srgbClr val="8499A6"/>
      </a:folHlink>
    </a:clrScheme>
    <a:fontScheme name="RBCCM_2014_Landscape">
      <a:majorFont>
        <a:latin typeface="Arial"/>
        <a:ea typeface="Geneva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BF0F5"/>
        </a:solidFill>
        <a:ln w="9525" algn="ctr">
          <a:solidFill>
            <a:srgbClr val="EBF0F5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anchor="ctr"/>
      <a:lstStyle>
        <a:defPPr>
          <a:defRPr sz="1000" dirty="0" err="1" smtClean="0">
            <a:solidFill>
              <a:srgbClr val="003263"/>
            </a:solidFill>
          </a:defRPr>
        </a:defPPr>
      </a:lstStyle>
    </a:spDef>
    <a:lnDef>
      <a:spPr bwMode="auto">
        <a:solidFill>
          <a:srgbClr val="EBF0F5"/>
        </a:solidFill>
        <a:ln w="9525" cap="flat" cmpd="sng" algn="ctr">
          <a:solidFill>
            <a:srgbClr val="EBF0F5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dirty="0"/>
        </a:defPPr>
      </a:lstStyle>
    </a:txDef>
  </a:objectDefaults>
  <a:extraClrSchemeLst>
    <a:extraClrScheme>
      <a:clrScheme name="RBCCM_2014_Landscape 1">
        <a:dk1>
          <a:srgbClr val="000000"/>
        </a:dk1>
        <a:lt1>
          <a:srgbClr val="FFFFFF"/>
        </a:lt1>
        <a:dk2>
          <a:srgbClr val="003263"/>
        </a:dk2>
        <a:lt2>
          <a:srgbClr val="FFD200"/>
        </a:lt2>
        <a:accent1>
          <a:srgbClr val="0060A9"/>
        </a:accent1>
        <a:accent2>
          <a:srgbClr val="6AADE4"/>
        </a:accent2>
        <a:accent3>
          <a:srgbClr val="FFFFFF"/>
        </a:accent3>
        <a:accent4>
          <a:srgbClr val="000000"/>
        </a:accent4>
        <a:accent5>
          <a:srgbClr val="AAB6D1"/>
        </a:accent5>
        <a:accent6>
          <a:srgbClr val="5F9CCF"/>
        </a:accent6>
        <a:hlink>
          <a:srgbClr val="6F6E6F"/>
        </a:hlink>
        <a:folHlink>
          <a:srgbClr val="8499A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RBCGEN_2014_Landscape">
  <a:themeElements>
    <a:clrScheme name="RBCCM 2014">
      <a:dk1>
        <a:srgbClr val="000000"/>
      </a:dk1>
      <a:lt1>
        <a:srgbClr val="FFFFFF"/>
      </a:lt1>
      <a:dk2>
        <a:srgbClr val="003263"/>
      </a:dk2>
      <a:lt2>
        <a:srgbClr val="ADC2D2"/>
      </a:lt2>
      <a:accent1>
        <a:srgbClr val="003263"/>
      </a:accent1>
      <a:accent2>
        <a:srgbClr val="0060A9"/>
      </a:accent2>
      <a:accent3>
        <a:srgbClr val="6AADE4"/>
      </a:accent3>
      <a:accent4>
        <a:srgbClr val="FFD200"/>
      </a:accent4>
      <a:accent5>
        <a:srgbClr val="8499A6"/>
      </a:accent5>
      <a:accent6>
        <a:srgbClr val="9D8954"/>
      </a:accent6>
      <a:hlink>
        <a:srgbClr val="0060A9"/>
      </a:hlink>
      <a:folHlink>
        <a:srgbClr val="008FFA"/>
      </a:folHlink>
    </a:clrScheme>
    <a:fontScheme name="RBCCM_2014_Landscape">
      <a:majorFont>
        <a:latin typeface="Arial"/>
        <a:ea typeface="Geneva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BF0F5"/>
        </a:solidFill>
        <a:ln w="9525" algn="ctr">
          <a:solidFill>
            <a:srgbClr val="EBF0F5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anchor="ctr"/>
      <a:lstStyle>
        <a:defPPr>
          <a:defRPr sz="1000" dirty="0" err="1" smtClean="0">
            <a:solidFill>
              <a:srgbClr val="003263"/>
            </a:solidFill>
          </a:defRPr>
        </a:defPPr>
      </a:lstStyle>
    </a:spDef>
    <a:lnDef>
      <a:spPr bwMode="auto">
        <a:solidFill>
          <a:srgbClr val="EBF0F5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dirty="0"/>
        </a:defPPr>
      </a:lstStyle>
    </a:txDef>
  </a:objectDefaults>
  <a:extraClrSchemeLst>
    <a:extraClrScheme>
      <a:clrScheme name="RBCCM_2014_Landscape 1">
        <a:dk1>
          <a:srgbClr val="000000"/>
        </a:dk1>
        <a:lt1>
          <a:srgbClr val="FFFFFF"/>
        </a:lt1>
        <a:dk2>
          <a:srgbClr val="003263"/>
        </a:dk2>
        <a:lt2>
          <a:srgbClr val="FFD200"/>
        </a:lt2>
        <a:accent1>
          <a:srgbClr val="0060A9"/>
        </a:accent1>
        <a:accent2>
          <a:srgbClr val="6AADE4"/>
        </a:accent2>
        <a:accent3>
          <a:srgbClr val="FFFFFF"/>
        </a:accent3>
        <a:accent4>
          <a:srgbClr val="000000"/>
        </a:accent4>
        <a:accent5>
          <a:srgbClr val="AAB6D1"/>
        </a:accent5>
        <a:accent6>
          <a:srgbClr val="5F9CCF"/>
        </a:accent6>
        <a:hlink>
          <a:srgbClr val="6F6E6F"/>
        </a:hlink>
        <a:folHlink>
          <a:srgbClr val="8499A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BCGEN_2014_Landscape.potx" id="{73CABCF7-8D24-4BBA-9933-7338ADBF8063}" vid="{F14A78EB-C2AB-4DFB-A4BA-AFDC3AD7A866}"/>
    </a:ext>
  </a:extLst>
</a:theme>
</file>

<file path=ppt/theme/theme6.xml><?xml version="1.0" encoding="utf-8"?>
<a:theme xmlns:a="http://schemas.openxmlformats.org/drawingml/2006/main" name="3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7.xml><?xml version="1.0" encoding="utf-8"?>
<a:theme xmlns:a="http://schemas.openxmlformats.org/drawingml/2006/main" name="4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8.xml><?xml version="1.0" encoding="utf-8"?>
<a:theme xmlns:a="http://schemas.openxmlformats.org/drawingml/2006/main" name="5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9.xml><?xml version="1.0" encoding="utf-8"?>
<a:theme xmlns:a="http://schemas.openxmlformats.org/drawingml/2006/main" name="6_Legacy Slides Only - No New Slides">
  <a:themeElements>
    <a:clrScheme name="RBC HNW Colors">
      <a:dk1>
        <a:srgbClr val="000000"/>
      </a:dk1>
      <a:lt1>
        <a:srgbClr val="FFFFFF"/>
      </a:lt1>
      <a:dk2>
        <a:srgbClr val="003168"/>
      </a:dk2>
      <a:lt2>
        <a:srgbClr val="E7EEF1"/>
      </a:lt2>
      <a:accent1>
        <a:srgbClr val="003168"/>
      </a:accent1>
      <a:accent2>
        <a:srgbClr val="FFC72C"/>
      </a:accent2>
      <a:accent3>
        <a:srgbClr val="87AFBF"/>
      </a:accent3>
      <a:accent4>
        <a:srgbClr val="C1B5A5"/>
      </a:accent4>
      <a:accent5>
        <a:srgbClr val="FCA311"/>
      </a:accent5>
      <a:accent6>
        <a:srgbClr val="B8A970"/>
      </a:accent6>
      <a:hlink>
        <a:srgbClr val="87AFBF"/>
      </a:hlink>
      <a:folHlink>
        <a:srgbClr val="B3B6B8"/>
      </a:folHlink>
    </a:clrScheme>
    <a:fontScheme name="RBC Ari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50000"/>
          </a:schemeClr>
        </a:solidFill>
      </a:fillStyleLst>
      <a:lnStyleLst>
        <a:ln w="0" cap="flat" cmpd="sng" algn="ctr">
          <a:noFill/>
        </a:ln>
        <a:ln w="6350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fillOverlay blend="screen">
              <a:solidFill>
                <a:schemeClr val="phClr"/>
              </a:solidFill>
            </a:fillOverlay>
          </a:effectLst>
        </a:effectStyle>
        <a:effectStyle>
          <a:effectLst>
            <a:blur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Yellow">
      <a:srgbClr val="FFC72C"/>
    </a:custClr>
    <a:custClr name="Tundra">
      <a:srgbClr val="87AFBF"/>
    </a:custClr>
    <a:custClr name="Light Gray">
      <a:srgbClr val="C1B5A5"/>
    </a:custClr>
    <a:custClr name="Sunburst">
      <a:srgbClr val="FCA311"/>
    </a:custClr>
    <a:custClr name="Beige">
      <a:srgbClr val="B8A970"/>
    </a:custClr>
    <a:custClr name="Carbon">
      <a:srgbClr val="899299"/>
    </a:custClr>
    <a:custClr name="Apple">
      <a:srgbClr val="AABA0A"/>
    </a:custClr>
    <a:custClr name="Seaweed">
      <a:srgbClr val="588886"/>
    </a:custClr>
    <a:custClr name="Sky">
      <a:srgbClr val="51B5E0"/>
    </a:custClr>
    <a:custClr name="Slate Gray">
      <a:srgbClr val="6F6E6F"/>
    </a:custClr>
    <a:custClr name="Warm Yellow 70%">
      <a:srgbClr val="FFD86B"/>
    </a:custClr>
    <a:custClr name="Tundra 70%">
      <a:srgbClr val="ABC7D2"/>
    </a:custClr>
    <a:custClr name="Light Gray 70%">
      <a:srgbClr val="D4CBC0"/>
    </a:custClr>
    <a:custClr name="Sunburst 70%">
      <a:srgbClr val="FDBF58"/>
    </a:custClr>
    <a:custClr name="Beige 70%">
      <a:srgbClr val="CDC39B"/>
    </a:custClr>
    <a:custClr name="Carbon 70%">
      <a:srgbClr val="ACB3B8"/>
    </a:custClr>
    <a:custClr name="Apple 70%">
      <a:srgbClr val="C4CF54"/>
    </a:custClr>
    <a:custClr name="Seaweed 70%">
      <a:srgbClr val="8AACAA"/>
    </a:custClr>
    <a:custClr name="Sky 70%">
      <a:srgbClr val="85CBE9"/>
    </a:custClr>
    <a:custClr name="Slate Gray 70%">
      <a:srgbClr val="9A9A9A"/>
    </a:custClr>
    <a:custClr name="Warm Yellow 40%">
      <a:srgbClr val="FFE9AB"/>
    </a:custClr>
    <a:custClr name="Tundra 40%">
      <a:srgbClr val="CFDFE5"/>
    </a:custClr>
    <a:custClr name="Light Gray 40%">
      <a:srgbClr val="E6E1DB"/>
    </a:custClr>
    <a:custClr name="Sunburst 40%">
      <a:srgbClr val="FEDAA0"/>
    </a:custClr>
    <a:custClr name="Beige 40%">
      <a:srgbClr val="E3DDC6"/>
    </a:custClr>
    <a:custClr name="Carbon 40%">
      <a:srgbClr val="D0D3D6"/>
    </a:custClr>
    <a:custClr name="Apple 40%">
      <a:srgbClr val="DDE39D"/>
    </a:custClr>
    <a:custClr name="Seaweed 40%">
      <a:srgbClr val="BCCFCF"/>
    </a:custClr>
    <a:custClr name="Sky 40%">
      <a:srgbClr val="B9E1F3"/>
    </a:custClr>
    <a:custClr name="Slate Gray 40%">
      <a:srgbClr val="C5C5C5"/>
    </a:custClr>
    <a:custClr name="Warm Yellow 25%">
      <a:srgbClr val="FFF1CA"/>
    </a:custClr>
    <a:custClr name="Tundra 25%">
      <a:srgbClr val="E1EBEF"/>
    </a:custClr>
    <a:custClr name="Light Gray 25%">
      <a:srgbClr val="F0EDE9"/>
    </a:custClr>
    <a:custClr name="Sunburst 25%">
      <a:srgbClr val="FEE8C4"/>
    </a:custClr>
    <a:custClr name="Beige 25%">
      <a:srgbClr val="EDEADB"/>
    </a:custClr>
    <a:custClr name="Carbon 25%">
      <a:srgbClr val="E2E4E6"/>
    </a:custClr>
    <a:custClr name="Apple 25%">
      <a:srgbClr val="EAEEC2"/>
    </a:custClr>
    <a:custClr name="Seaweed 25%">
      <a:srgbClr val="D5E1E1"/>
    </a:custClr>
    <a:custClr name="Sky 25%">
      <a:srgbClr val="D4EDF7"/>
    </a:custClr>
    <a:custClr name="Slate Gray 25%">
      <a:srgbClr val="DBDBDB"/>
    </a:custClr>
    <a:custClr name="Warm Yellow 10%">
      <a:srgbClr val="FFF9EA"/>
    </a:custClr>
    <a:custClr name="Tundra 10%">
      <a:srgbClr val="F3F7F9"/>
    </a:custClr>
    <a:custClr name="Light Gray 10%">
      <a:srgbClr val="F9F8F6"/>
    </a:custClr>
    <a:custClr name="Sunburst 10%">
      <a:srgbClr val="FFF6E7"/>
    </a:custClr>
    <a:custClr name="Beige 10%">
      <a:srgbClr val="F8F6F1"/>
    </a:custClr>
    <a:custClr name="Carbon 10%">
      <a:srgbClr val="F3F4F5"/>
    </a:custClr>
    <a:custClr name="Apple 10%">
      <a:srgbClr val="F7F8E7"/>
    </a:custClr>
    <a:custClr name="Seaweed 10%">
      <a:srgbClr val="EEF3F3"/>
    </a:custClr>
    <a:custClr name="Sky 10%">
      <a:srgbClr val="EEF8FC"/>
    </a:custClr>
    <a:custClr name="Slate Gray 10%">
      <a:srgbClr val="F1F1F1"/>
    </a:custClr>
  </a:custClrLst>
  <a:extLst>
    <a:ext uri="{05A4C25C-085E-4340-85A3-A5531E510DB2}">
      <thm15:themeFamily xmlns:thm15="http://schemas.microsoft.com/office/thememl/2012/main" name="HNW Standard.potx" id="{250C4236-12C2-4292-AE3F-FF12CFE95964}" vid="{2E3C0EA1-A865-432F-AA44-C87A0048900A}"/>
    </a:ext>
  </a:extLst>
</a:theme>
</file>

<file path=ppt/theme/themeOverride1.xml><?xml version="1.0" encoding="utf-8"?>
<a:themeOverride xmlns:a="http://schemas.openxmlformats.org/drawingml/2006/main">
  <a:clrScheme name="RBCCM_2014_Landscape 1">
    <a:dk1>
      <a:srgbClr val="000000"/>
    </a:dk1>
    <a:lt1>
      <a:srgbClr val="FFFFFF"/>
    </a:lt1>
    <a:dk2>
      <a:srgbClr val="003263"/>
    </a:dk2>
    <a:lt2>
      <a:srgbClr val="FFD200"/>
    </a:lt2>
    <a:accent1>
      <a:srgbClr val="0060A9"/>
    </a:accent1>
    <a:accent2>
      <a:srgbClr val="6AADE4"/>
    </a:accent2>
    <a:accent3>
      <a:srgbClr val="FFFFFF"/>
    </a:accent3>
    <a:accent4>
      <a:srgbClr val="000000"/>
    </a:accent4>
    <a:accent5>
      <a:srgbClr val="AAB6D1"/>
    </a:accent5>
    <a:accent6>
      <a:srgbClr val="5F9CCF"/>
    </a:accent6>
    <a:hlink>
      <a:srgbClr val="6F6E6F"/>
    </a:hlink>
    <a:folHlink>
      <a:srgbClr val="8499A6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34b40eb-e6a7-4ff6-a339-01772539095c">S6TJFE2QSV4P-5-1122</_dlc_DocId>
    <_dlc_DocIdUrl xmlns="734b40eb-e6a7-4ff6-a339-01772539095c">
      <Url>https://spcollab.fg.rbc.com/team/F96_GRMVolcker/_layouts/15/DocIdRedir.aspx?ID=S6TJFE2QSV4P-5-1122</Url>
      <Description>S6TJFE2QSV4P-5-1122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82E6F812AB754D88FFCE865DB05EDD" ma:contentTypeVersion="1" ma:contentTypeDescription="Create a new document." ma:contentTypeScope="" ma:versionID="1ddda619c564c794aebe3e5de8ac3cee">
  <xsd:schema xmlns:xsd="http://www.w3.org/2001/XMLSchema" xmlns:xs="http://www.w3.org/2001/XMLSchema" xmlns:p="http://schemas.microsoft.com/office/2006/metadata/properties" xmlns:ns2="734b40eb-e6a7-4ff6-a339-01772539095c" targetNamespace="http://schemas.microsoft.com/office/2006/metadata/properties" ma:root="true" ma:fieldsID="6212c67f0b577f1eb8a5c791f032d8b5" ns2:_="">
    <xsd:import namespace="734b40eb-e6a7-4ff6-a339-01772539095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4b40eb-e6a7-4ff6-a339-01772539095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F2D3371-33D6-4592-B0BC-D7AE12BF8B12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899BA92A-3367-4FCC-ACDD-BA6D1D4B32A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1783FD7-AC25-45C4-9CD2-F461CF6B285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34b40eb-e6a7-4ff6-a339-01772539095c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7B7C8850-81CC-42DB-912B-AD2F487550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34b40eb-e6a7-4ff6-a339-0177253909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308</TotalTime>
  <Words>782</Words>
  <Application>Microsoft Office PowerPoint</Application>
  <PresentationFormat>Custom</PresentationFormat>
  <Paragraphs>180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2" baseType="lpstr">
      <vt:lpstr>Arial</vt:lpstr>
      <vt:lpstr>Calibri</vt:lpstr>
      <vt:lpstr>Geneva</vt:lpstr>
      <vt:lpstr>Symbol</vt:lpstr>
      <vt:lpstr>Wingdings</vt:lpstr>
      <vt:lpstr>Legacy Slides Only - No New Slides</vt:lpstr>
      <vt:lpstr>1_Legacy Slides Only - No New Slides</vt:lpstr>
      <vt:lpstr>2_Legacy Slides Only - No New Slides</vt:lpstr>
      <vt:lpstr>RBCCM_2014_Landscape</vt:lpstr>
      <vt:lpstr>3_RBCGEN_2014_Landscape</vt:lpstr>
      <vt:lpstr>3_Legacy Slides Only - No New Slides</vt:lpstr>
      <vt:lpstr>4_Legacy Slides Only - No New Slides</vt:lpstr>
      <vt:lpstr>5_Legacy Slides Only - No New Slides</vt:lpstr>
      <vt:lpstr>6_Legacy Slides Only - No New Slides</vt:lpstr>
      <vt:lpstr>7_Legacy Slides Only - No New Slides</vt:lpstr>
      <vt:lpstr>8_Legacy Slides Only - No New Slides</vt:lpstr>
      <vt:lpstr>9_Legacy Slides Only - No New Slides</vt:lpstr>
      <vt:lpstr>10_Legacy Slides Only - No New Slides</vt:lpstr>
      <vt:lpstr>11_Legacy Slides Only - No New Slides</vt:lpstr>
      <vt:lpstr>12_Legacy Slides Only - No New Slides</vt:lpstr>
      <vt:lpstr>13_Legacy Slides Only - No New Slides</vt:lpstr>
      <vt:lpstr>14_Legacy Slides Only - No New Slides</vt:lpstr>
      <vt:lpstr>15_Legacy Slides Only - No New Slides</vt:lpstr>
      <vt:lpstr>16_Legacy Slides Only - No New Slides</vt:lpstr>
      <vt:lpstr>17_Legacy Slides Only - No New Slides</vt:lpstr>
      <vt:lpstr>18_Legacy Slides Only - No New Slides</vt:lpstr>
      <vt:lpstr>19_Legacy Slides Only - No New Slides</vt:lpstr>
      <vt:lpstr>20_Legacy Slides Only - No New Slides</vt:lpstr>
      <vt:lpstr>21_Legacy Slides Only - No New Slides</vt:lpstr>
      <vt:lpstr>think-cell Slide</vt:lpstr>
      <vt:lpstr>Super Bowl LV Predictions</vt:lpstr>
      <vt:lpstr>What Makes a Winning Team? </vt:lpstr>
    </vt:vector>
  </TitlesOfParts>
  <Company>RB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r 2 layout</dc:title>
  <dc:creator>Meegan, Louise</dc:creator>
  <cp:keywords>RBC Internal</cp:keywords>
  <dc:description>Version 1.00
Job 1544
Oct. 16, 2018</dc:description>
  <cp:lastModifiedBy>Anderson, Steffen</cp:lastModifiedBy>
  <cp:revision>322</cp:revision>
  <cp:lastPrinted>2019-04-18T16:45:29Z</cp:lastPrinted>
  <dcterms:created xsi:type="dcterms:W3CDTF">2019-03-14T20:06:27Z</dcterms:created>
  <dcterms:modified xsi:type="dcterms:W3CDTF">2021-07-15T20:2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58cf40e7-7c8d-4d2c-81ed-717df1be3fdd</vt:lpwstr>
  </property>
  <property fmtid="{D5CDD505-2E9C-101B-9397-08002B2CF9AE}" pid="3" name="ContentTypeId">
    <vt:lpwstr>0x010100ED82E6F812AB754D88FFCE865DB05EDD</vt:lpwstr>
  </property>
  <property fmtid="{D5CDD505-2E9C-101B-9397-08002B2CF9AE}" pid="4" name="_dlc_DocIdItemGuid">
    <vt:lpwstr>431aa6d2-5a52-4a1b-92f4-51367105d7d0</vt:lpwstr>
  </property>
  <property fmtid="{D5CDD505-2E9C-101B-9397-08002B2CF9AE}" pid="5" name="Classification">
    <vt:lpwstr>TT_RBC_Internal</vt:lpwstr>
  </property>
</Properties>
</file>